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15"/>
  </p:notesMasterIdLst>
  <p:handoutMasterIdLst>
    <p:handoutMasterId r:id="rId16"/>
  </p:handoutMasterIdLst>
  <p:sldIdLst>
    <p:sldId id="348" r:id="rId2"/>
    <p:sldId id="394" r:id="rId3"/>
    <p:sldId id="431" r:id="rId4"/>
    <p:sldId id="424" r:id="rId5"/>
    <p:sldId id="426" r:id="rId6"/>
    <p:sldId id="432" r:id="rId7"/>
    <p:sldId id="437" r:id="rId8"/>
    <p:sldId id="438" r:id="rId9"/>
    <p:sldId id="429" r:id="rId10"/>
    <p:sldId id="436" r:id="rId11"/>
    <p:sldId id="435" r:id="rId12"/>
    <p:sldId id="434" r:id="rId13"/>
    <p:sldId id="392" r:id="rId14"/>
  </p:sldIdLst>
  <p:sldSz cx="9144000" cy="6858000" type="screen4x3"/>
  <p:notesSz cx="6858000" cy="9144000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54">
          <p15:clr>
            <a:srgbClr val="A4A3A4"/>
          </p15:clr>
        </p15:guide>
        <p15:guide id="2" pos="28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3C6AB4"/>
    <a:srgbClr val="9900FF"/>
    <a:srgbClr val="00CC00"/>
    <a:srgbClr val="FF9999"/>
    <a:srgbClr val="CC00CC"/>
    <a:srgbClr val="33CCCC"/>
    <a:srgbClr val="FFCC66"/>
    <a:srgbClr val="33CC33"/>
    <a:srgbClr val="FABF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8" autoAdjust="0"/>
    <p:restoredTop sz="91466" autoAdjust="0"/>
  </p:normalViewPr>
  <p:slideViewPr>
    <p:cSldViewPr snapToObjects="1">
      <p:cViewPr varScale="1">
        <p:scale>
          <a:sx n="63" d="100"/>
          <a:sy n="63" d="100"/>
        </p:scale>
        <p:origin x="1400" y="48"/>
      </p:cViewPr>
      <p:guideLst>
        <p:guide orient="horz" pos="2054"/>
        <p:guide pos="28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55" d="100"/>
          <a:sy n="55" d="100"/>
        </p:scale>
        <p:origin x="-2598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4ABB16-0264-4186-9773-91D274F48F05}" type="datetimeFigureOut">
              <a:rPr lang="zh-CN" altLang="en-US" smtClean="0"/>
              <a:pPr/>
              <a:t>2017-10-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FBCB37-BDCD-423E-A84C-06561996D95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5262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ABFE85-5050-4077-9CF8-F6DE930042EE}" type="datetimeFigureOut">
              <a:rPr lang="zh-CN" altLang="en-US" smtClean="0"/>
              <a:pPr/>
              <a:t>2017-10-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9BB597-E100-4E11-B630-667F954C61A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0260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17563" y="725488"/>
            <a:ext cx="5227637" cy="39195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lIns="91166" tIns="45583" rIns="91166" bIns="45583"/>
          <a:lstStyle/>
          <a:p>
            <a:endParaRPr lang="en-US" altLang="zh-CN" dirty="0" smtClean="0">
              <a:latin typeface="Tele-GroteskNor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4194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8"/>
          <p:cNvSpPr txBox="1">
            <a:spLocks noGrp="1" noChangeArrowheads="1"/>
          </p:cNvSpPr>
          <p:nvPr/>
        </p:nvSpPr>
        <p:spPr bwMode="auto">
          <a:xfrm>
            <a:off x="0" y="1"/>
            <a:ext cx="2972098" cy="456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6" tIns="45704" rIns="91406" bIns="45704"/>
          <a:lstStyle/>
          <a:p>
            <a:pPr defTabSz="911482"/>
            <a:r>
              <a:rPr lang="en-US" altLang="en-US" sz="1000" dirty="0">
                <a:latin typeface="Calibri" pitchFamily="34" charset="0"/>
              </a:rPr>
              <a:t>IBM Global Business Services</a:t>
            </a:r>
          </a:p>
        </p:txBody>
      </p:sp>
      <p:sp>
        <p:nvSpPr>
          <p:cNvPr id="175107" name="Rectangle 9"/>
          <p:cNvSpPr txBox="1">
            <a:spLocks noGrp="1" noChangeArrowheads="1"/>
          </p:cNvSpPr>
          <p:nvPr/>
        </p:nvSpPr>
        <p:spPr bwMode="auto">
          <a:xfrm>
            <a:off x="0" y="8685894"/>
            <a:ext cx="2972098" cy="456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6" tIns="45704" rIns="91406" bIns="45704" anchor="b"/>
          <a:lstStyle/>
          <a:p>
            <a:pPr defTabSz="911482"/>
            <a:r>
              <a:rPr lang="en-US" altLang="en-US" sz="900" dirty="0">
                <a:latin typeface="Calibri" pitchFamily="34" charset="0"/>
              </a:rPr>
              <a:t>©Copyright IBM Corporation 2007</a:t>
            </a:r>
          </a:p>
        </p:txBody>
      </p:sp>
      <p:sp>
        <p:nvSpPr>
          <p:cNvPr id="175108" name="Rectangle 10"/>
          <p:cNvSpPr txBox="1">
            <a:spLocks noGrp="1" noChangeArrowheads="1"/>
          </p:cNvSpPr>
          <p:nvPr/>
        </p:nvSpPr>
        <p:spPr bwMode="auto">
          <a:xfrm>
            <a:off x="2708672" y="8752418"/>
            <a:ext cx="760512" cy="390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6" tIns="45704" rIns="91406" bIns="45704" anchor="b"/>
          <a:lstStyle/>
          <a:p>
            <a:pPr algn="r" defTabSz="911482"/>
            <a:fld id="{DF0BE660-7068-45EA-95F1-972D0E8043DB}" type="slidenum">
              <a:rPr lang="en-US" altLang="en-US" sz="900">
                <a:latin typeface="Calibri" pitchFamily="34" charset="0"/>
              </a:rPr>
              <a:pPr algn="r" defTabSz="911482"/>
              <a:t>12</a:t>
            </a:fld>
            <a:endParaRPr lang="en-US" altLang="en-US" sz="900" dirty="0">
              <a:latin typeface="Calibri" pitchFamily="34" charset="0"/>
            </a:endParaRPr>
          </a:p>
        </p:txBody>
      </p:sp>
      <p:sp>
        <p:nvSpPr>
          <p:cNvPr id="1751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751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1406" tIns="45704" rIns="91406" bIns="45704"/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05417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75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endParaRPr lang="zh-CN" altLang="en-US" dirty="0"/>
          </a:p>
        </p:txBody>
      </p:sp>
      <p:sp>
        <p:nvSpPr>
          <p:cNvPr id="330756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A7CEBAB-F321-4CA4-8D96-6F0C7CF6C72A}" type="slidenum">
              <a:rPr lang="en-US" altLang="zh-CN" smtClean="0">
                <a:solidFill>
                  <a:srgbClr val="FFFFFF"/>
                </a:solidFill>
                <a:latin typeface="Arial" pitchFamily="34" charset="0"/>
              </a:rPr>
              <a:pPr/>
              <a:t>3</a:t>
            </a:fld>
            <a:endParaRPr lang="en-US" altLang="zh-CN" dirty="0" smtClean="0">
              <a:solidFill>
                <a:srgbClr val="FFFFFF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930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721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0612" tIns="45307" rIns="90612" bIns="45307"/>
          <a:lstStyle/>
          <a:p>
            <a:pPr>
              <a:spcBef>
                <a:spcPct val="0"/>
              </a:spcBef>
            </a:pPr>
            <a:endParaRPr lang="en-US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7220" name="Slide Number Placeholder 3"/>
          <p:cNvSpPr txBox="1">
            <a:spLocks noGrp="1"/>
          </p:cNvSpPr>
          <p:nvPr/>
        </p:nvSpPr>
        <p:spPr bwMode="auto">
          <a:xfrm>
            <a:off x="3882927" y="8684381"/>
            <a:ext cx="2973586" cy="458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747" tIns="45374" rIns="90747" bIns="45374" anchor="b"/>
          <a:lstStyle/>
          <a:p>
            <a:pPr algn="r" defTabSz="876944"/>
            <a:fld id="{E976896D-8D23-4993-80D9-5105FE07F1DB}" type="slidenum">
              <a:rPr lang="en-US" altLang="en-US" sz="1200">
                <a:solidFill>
                  <a:srgbClr val="000000"/>
                </a:solidFill>
                <a:ea typeface="MS PGothic" pitchFamily="34" charset="-128"/>
                <a:cs typeface="Arial" pitchFamily="34" charset="0"/>
              </a:rPr>
              <a:pPr algn="r" defTabSz="876944"/>
              <a:t>4</a:t>
            </a:fld>
            <a:endParaRPr lang="en-US" altLang="en-US" sz="1200" dirty="0">
              <a:solidFill>
                <a:srgbClr val="000000"/>
              </a:solidFill>
              <a:ea typeface="MS PGothic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8820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6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>
              <a:tabLst>
                <a:tab pos="723779" algn="l"/>
                <a:tab pos="1447558" algn="l"/>
                <a:tab pos="2171337" algn="l"/>
                <a:tab pos="2895116" algn="l"/>
              </a:tabLst>
            </a:pPr>
            <a:fld id="{939DBE13-3BC4-42E9-95B8-6A038BF4886D}" type="slidenum">
              <a:rPr lang="en-US" altLang="en-US">
                <a:solidFill>
                  <a:srgbClr val="000000"/>
                </a:solidFill>
                <a:ea typeface="MS Gothic" pitchFamily="49" charset="-128"/>
              </a:rPr>
              <a:pPr>
                <a:tabLst>
                  <a:tab pos="723779" algn="l"/>
                  <a:tab pos="1447558" algn="l"/>
                  <a:tab pos="2171337" algn="l"/>
                  <a:tab pos="2895116" algn="l"/>
                </a:tabLst>
              </a:pPr>
              <a:t>5</a:t>
            </a:fld>
            <a:endParaRPr lang="en-US" altLang="en-US" dirty="0">
              <a:solidFill>
                <a:srgbClr val="000000"/>
              </a:solidFill>
              <a:ea typeface="MS Gothic" pitchFamily="49" charset="-128"/>
            </a:endParaRPr>
          </a:p>
        </p:txBody>
      </p:sp>
      <p:sp>
        <p:nvSpPr>
          <p:cNvPr id="140291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40292" name="Text Box 2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spcBef>
                <a:spcPts val="449"/>
              </a:spcBef>
              <a:tabLst>
                <a:tab pos="0" algn="l"/>
                <a:tab pos="456491" algn="l"/>
                <a:tab pos="912983" algn="l"/>
                <a:tab pos="1370976" algn="l"/>
                <a:tab pos="1827467" algn="l"/>
                <a:tab pos="2285460" algn="l"/>
                <a:tab pos="2741951" algn="l"/>
                <a:tab pos="3199945" algn="l"/>
                <a:tab pos="3656436" algn="l"/>
                <a:tab pos="4114429" algn="l"/>
                <a:tab pos="4570920" algn="l"/>
                <a:tab pos="5027411" algn="l"/>
                <a:tab pos="5485405" algn="l"/>
                <a:tab pos="5941896" algn="l"/>
                <a:tab pos="6399888" algn="l"/>
                <a:tab pos="6856380" algn="l"/>
                <a:tab pos="7314373" algn="l"/>
                <a:tab pos="7770865" algn="l"/>
                <a:tab pos="8228857" algn="l"/>
                <a:tab pos="8685348" algn="l"/>
                <a:tab pos="9141840" algn="l"/>
              </a:tabLst>
            </a:pPr>
            <a:endParaRPr lang="en-US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0293" name="Text Box 3"/>
          <p:cNvSpPr txBox="1">
            <a:spLocks noChangeArrowheads="1"/>
          </p:cNvSpPr>
          <p:nvPr/>
        </p:nvSpPr>
        <p:spPr bwMode="auto">
          <a:xfrm>
            <a:off x="3884414" y="8685894"/>
            <a:ext cx="2972098" cy="456595"/>
          </a:xfrm>
          <a:prstGeom prst="rect">
            <a:avLst/>
          </a:prstGeom>
          <a:noFill/>
          <a:ln w="21600">
            <a:noFill/>
            <a:round/>
            <a:headEnd/>
            <a:tailEnd/>
          </a:ln>
        </p:spPr>
        <p:txBody>
          <a:bodyPr lIns="89992" tIns="46796" rIns="89992" bIns="46796" anchor="b"/>
          <a:lstStyle/>
          <a:p>
            <a:pPr algn="r">
              <a:tabLst>
                <a:tab pos="0" algn="l"/>
                <a:tab pos="432465" algn="l"/>
                <a:tab pos="864931" algn="l"/>
                <a:tab pos="1297396" algn="l"/>
                <a:tab pos="1729862" algn="l"/>
                <a:tab pos="2162327" algn="l"/>
                <a:tab pos="2594793" algn="l"/>
                <a:tab pos="3027258" algn="l"/>
                <a:tab pos="3459724" algn="l"/>
                <a:tab pos="3892189" algn="l"/>
                <a:tab pos="4324655" algn="l"/>
                <a:tab pos="4757120" algn="l"/>
                <a:tab pos="5189586" algn="l"/>
                <a:tab pos="5622051" algn="l"/>
                <a:tab pos="6054517" algn="l"/>
                <a:tab pos="6486982" algn="l"/>
                <a:tab pos="6919448" algn="l"/>
                <a:tab pos="7351913" algn="l"/>
                <a:tab pos="7784379" algn="l"/>
                <a:tab pos="8216844" algn="l"/>
                <a:tab pos="8649310" algn="l"/>
              </a:tabLst>
            </a:pPr>
            <a:fld id="{9515B6E9-BC31-471F-B17D-7D65100EC962}" type="slidenum">
              <a:rPr lang="en-US" altLang="en-US" sz="1200">
                <a:solidFill>
                  <a:srgbClr val="000000"/>
                </a:solidFill>
                <a:ea typeface="MS Gothic" pitchFamily="49" charset="-128"/>
              </a:rPr>
              <a:pPr algn="r">
                <a:tabLst>
                  <a:tab pos="0" algn="l"/>
                  <a:tab pos="432465" algn="l"/>
                  <a:tab pos="864931" algn="l"/>
                  <a:tab pos="1297396" algn="l"/>
                  <a:tab pos="1729862" algn="l"/>
                  <a:tab pos="2162327" algn="l"/>
                  <a:tab pos="2594793" algn="l"/>
                  <a:tab pos="3027258" algn="l"/>
                  <a:tab pos="3459724" algn="l"/>
                  <a:tab pos="3892189" algn="l"/>
                  <a:tab pos="4324655" algn="l"/>
                  <a:tab pos="4757120" algn="l"/>
                  <a:tab pos="5189586" algn="l"/>
                  <a:tab pos="5622051" algn="l"/>
                  <a:tab pos="6054517" algn="l"/>
                  <a:tab pos="6486982" algn="l"/>
                  <a:tab pos="6919448" algn="l"/>
                  <a:tab pos="7351913" algn="l"/>
                  <a:tab pos="7784379" algn="l"/>
                  <a:tab pos="8216844" algn="l"/>
                  <a:tab pos="8649310" algn="l"/>
                </a:tabLst>
              </a:pPr>
              <a:t>5</a:t>
            </a:fld>
            <a:endParaRPr lang="en-US" altLang="en-US" sz="1200" dirty="0">
              <a:solidFill>
                <a:srgbClr val="000000"/>
              </a:solidFill>
              <a:ea typeface="MS Gothic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594002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21554D8-0CF5-46E1-ADED-CEB789F5185F}" type="slidenum">
              <a:rPr lang="ja-JP" altLang="en-US" smtClean="0">
                <a:latin typeface="Times"/>
                <a:cs typeface="Arial" pitchFamily="34" charset="0"/>
              </a:rPr>
              <a:pPr>
                <a:defRPr/>
              </a:pPr>
              <a:t>6</a:t>
            </a:fld>
            <a:endParaRPr lang="en-US" altLang="ja-JP" dirty="0" smtClean="0">
              <a:latin typeface="Times"/>
              <a:cs typeface="Arial" pitchFamily="34" charset="0"/>
            </a:endParaRPr>
          </a:p>
        </p:txBody>
      </p:sp>
      <p:sp>
        <p:nvSpPr>
          <p:cNvPr id="962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7763" y="685800"/>
            <a:ext cx="4567237" cy="3425825"/>
          </a:xfrm>
          <a:ln/>
        </p:spPr>
      </p:sp>
      <p:sp>
        <p:nvSpPr>
          <p:cNvPr id="962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94" y="4344358"/>
            <a:ext cx="5487013" cy="4114587"/>
          </a:xfrm>
          <a:noFill/>
          <a:ln/>
        </p:spPr>
        <p:txBody>
          <a:bodyPr/>
          <a:lstStyle/>
          <a:p>
            <a:endParaRPr lang="en-GB" altLang="zh-CN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8602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zh-CN" altLang="en-US" dirty="0" smtClean="0"/>
              <a:t>帐户锁是针对当前登录帐户的二级密码保护，新建帐户锁时可以创建一个密码（不可与登录青云账号密码相同），创建完之后可以选择“锁定”或“解锁”账户锁，“锁定”状态下所有资源都是只读的，不可创建和修改（可以同时锁定控制台端和</a:t>
            </a:r>
            <a:r>
              <a:rPr lang="en-US" altLang="zh-CN" dirty="0" smtClean="0"/>
              <a:t>API</a:t>
            </a:r>
            <a:r>
              <a:rPr lang="zh-CN" altLang="en-US" dirty="0" smtClean="0"/>
              <a:t>端，或者其中之一），如果要“解锁”就需要输入新建账户锁时的密码，简单说是为了加强青云账号的安全性，以保护用户资源。</a:t>
            </a:r>
            <a:endParaRPr lang="en-US" altLang="zh-CN" dirty="0" smtClean="0"/>
          </a:p>
          <a:p>
            <a:pPr marL="228600" indent="-228600">
              <a:buFont typeface="+mj-lt"/>
              <a:buAutoNum type="arabicPeriod"/>
            </a:pPr>
            <a:r>
              <a:rPr lang="zh-CN" altLang="en-US" dirty="0" smtClean="0"/>
              <a:t>数据可靠性的计算周期是按照</a:t>
            </a:r>
            <a:r>
              <a:rPr lang="en-US" altLang="zh-CN" dirty="0" smtClean="0"/>
              <a:t>12</a:t>
            </a:r>
            <a:r>
              <a:rPr lang="zh-CN" altLang="en-US" dirty="0" smtClean="0"/>
              <a:t>个月作为周期的。</a:t>
            </a:r>
            <a:endParaRPr lang="en-US" altLang="zh-CN" dirty="0" smtClean="0"/>
          </a:p>
          <a:p>
            <a:pPr marL="228600" indent="-228600">
              <a:buFont typeface="+mj-lt"/>
              <a:buAutoNum type="arabicPeriod"/>
            </a:pPr>
            <a:r>
              <a:rPr lang="zh-CN" altLang="en-US" dirty="0" smtClean="0"/>
              <a:t>用户业务可用性</a:t>
            </a:r>
            <a:r>
              <a:rPr lang="en-US" altLang="zh-CN" dirty="0" smtClean="0"/>
              <a:t>99.97%</a:t>
            </a:r>
            <a:r>
              <a:rPr lang="zh-CN" altLang="en-US" dirty="0" smtClean="0"/>
              <a:t>更改为云平台服务可用性</a:t>
            </a:r>
            <a:r>
              <a:rPr lang="en-US" altLang="zh-CN" dirty="0" smtClean="0"/>
              <a:t>99.97%</a:t>
            </a:r>
          </a:p>
          <a:p>
            <a:pPr marL="228600" indent="-228600">
              <a:buFont typeface="+mj-lt"/>
              <a:buAutoNum type="arabicPeriod"/>
            </a:pPr>
            <a:r>
              <a:rPr lang="zh-CN" altLang="en-US" dirty="0" smtClean="0"/>
              <a:t>对于数据加密的需求，目前在云平台服务层面不提供该项功能。但用户可自行在应用层面实现，例如</a:t>
            </a:r>
            <a:r>
              <a:rPr lang="en-US" altLang="zh-CN" dirty="0" smtClean="0"/>
              <a:t>Windows</a:t>
            </a:r>
            <a:r>
              <a:rPr lang="zh-CN" altLang="en-US" dirty="0" smtClean="0"/>
              <a:t>的</a:t>
            </a:r>
            <a:r>
              <a:rPr lang="en-US" altLang="zh-CN" dirty="0" smtClean="0"/>
              <a:t>EFS</a:t>
            </a:r>
            <a:r>
              <a:rPr lang="zh-CN" altLang="en-US" dirty="0" smtClean="0"/>
              <a:t>、</a:t>
            </a:r>
            <a:r>
              <a:rPr lang="en-US" altLang="zh-CN" dirty="0" smtClean="0"/>
              <a:t>BitLocker</a:t>
            </a:r>
            <a:r>
              <a:rPr lang="zh-CN" altLang="en-US" dirty="0" smtClean="0"/>
              <a:t>等软件。</a:t>
            </a:r>
            <a:endParaRPr lang="en-US" altLang="zh-CN" dirty="0" smtClean="0"/>
          </a:p>
          <a:p>
            <a:pPr marL="228600" indent="-228600">
              <a:buFont typeface="+mj-lt"/>
              <a:buAutoNum type="arabicPeriod"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9BB597-E100-4E11-B630-667F954C61AF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67323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系统管理软件包括防病毒服务、备份重删软件、</a:t>
            </a:r>
            <a:r>
              <a:rPr lang="en-US" altLang="zh-CN" dirty="0" smtClean="0"/>
              <a:t>NTP</a:t>
            </a:r>
            <a:r>
              <a:rPr lang="zh-CN" altLang="en-US" dirty="0" smtClean="0"/>
              <a:t>软件、</a:t>
            </a:r>
            <a:r>
              <a:rPr lang="en-US" altLang="zh-CN" dirty="0" smtClean="0"/>
              <a:t>Linux/Windows</a:t>
            </a:r>
            <a:r>
              <a:rPr lang="zh-CN" altLang="en-US" dirty="0" smtClean="0"/>
              <a:t>补丁服务、</a:t>
            </a:r>
            <a:r>
              <a:rPr lang="en-US" altLang="zh-CN" dirty="0" smtClean="0"/>
              <a:t>NTP</a:t>
            </a:r>
            <a:r>
              <a:rPr lang="zh-CN" altLang="en-US" dirty="0" smtClean="0"/>
              <a:t>时间同步服务、系统日志服务、系统和网络监控管理软件等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9BB597-E100-4E11-B630-667F954C61AF}" type="slidenum">
              <a:rPr lang="zh-CN" altLang="en-US" smtClean="0"/>
              <a:pPr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507379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系统管理软件包括防病毒服务、备份重删软件、</a:t>
            </a:r>
            <a:r>
              <a:rPr lang="en-US" altLang="zh-CN" dirty="0" smtClean="0"/>
              <a:t>NTP</a:t>
            </a:r>
            <a:r>
              <a:rPr lang="zh-CN" altLang="en-US" dirty="0" smtClean="0"/>
              <a:t>软件、</a:t>
            </a:r>
            <a:r>
              <a:rPr lang="en-US" altLang="zh-CN" dirty="0" smtClean="0"/>
              <a:t>Linux/Windows</a:t>
            </a:r>
            <a:r>
              <a:rPr lang="zh-CN" altLang="en-US" dirty="0" smtClean="0"/>
              <a:t>补丁服务、</a:t>
            </a:r>
            <a:r>
              <a:rPr lang="en-US" altLang="zh-CN" dirty="0" smtClean="0"/>
              <a:t>NTP</a:t>
            </a:r>
            <a:r>
              <a:rPr lang="zh-CN" altLang="en-US" dirty="0" smtClean="0"/>
              <a:t>时间同步服务、系统日志服务、系统和网络监控管理软件等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9BB597-E100-4E11-B630-667F954C61AF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40991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8"/>
          <p:cNvSpPr txBox="1">
            <a:spLocks noGrp="1" noChangeArrowheads="1"/>
          </p:cNvSpPr>
          <p:nvPr/>
        </p:nvSpPr>
        <p:spPr bwMode="auto">
          <a:xfrm>
            <a:off x="0" y="1"/>
            <a:ext cx="2972098" cy="456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6" tIns="45704" rIns="91406" bIns="45704"/>
          <a:lstStyle/>
          <a:p>
            <a:pPr defTabSz="911482"/>
            <a:r>
              <a:rPr lang="en-US" altLang="en-US" sz="1000" dirty="0">
                <a:latin typeface="Calibri" pitchFamily="34" charset="0"/>
              </a:rPr>
              <a:t>IBM Global Business Services</a:t>
            </a:r>
          </a:p>
        </p:txBody>
      </p:sp>
      <p:sp>
        <p:nvSpPr>
          <p:cNvPr id="175107" name="Rectangle 9"/>
          <p:cNvSpPr txBox="1">
            <a:spLocks noGrp="1" noChangeArrowheads="1"/>
          </p:cNvSpPr>
          <p:nvPr/>
        </p:nvSpPr>
        <p:spPr bwMode="auto">
          <a:xfrm>
            <a:off x="0" y="8685894"/>
            <a:ext cx="2972098" cy="456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6" tIns="45704" rIns="91406" bIns="45704" anchor="b"/>
          <a:lstStyle/>
          <a:p>
            <a:pPr defTabSz="911482"/>
            <a:r>
              <a:rPr lang="en-US" altLang="en-US" sz="900" dirty="0">
                <a:latin typeface="Calibri" pitchFamily="34" charset="0"/>
              </a:rPr>
              <a:t>©Copyright IBM Corporation 2007</a:t>
            </a:r>
          </a:p>
        </p:txBody>
      </p:sp>
      <p:sp>
        <p:nvSpPr>
          <p:cNvPr id="175108" name="Rectangle 10"/>
          <p:cNvSpPr txBox="1">
            <a:spLocks noGrp="1" noChangeArrowheads="1"/>
          </p:cNvSpPr>
          <p:nvPr/>
        </p:nvSpPr>
        <p:spPr bwMode="auto">
          <a:xfrm>
            <a:off x="2708672" y="8752418"/>
            <a:ext cx="760512" cy="390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6" tIns="45704" rIns="91406" bIns="45704" anchor="b"/>
          <a:lstStyle/>
          <a:p>
            <a:pPr algn="r" defTabSz="911482"/>
            <a:fld id="{DF0BE660-7068-45EA-95F1-972D0E8043DB}" type="slidenum">
              <a:rPr lang="en-US" altLang="en-US" sz="900">
                <a:latin typeface="Calibri" pitchFamily="34" charset="0"/>
              </a:rPr>
              <a:pPr algn="r" defTabSz="911482"/>
              <a:t>11</a:t>
            </a:fld>
            <a:endParaRPr lang="en-US" altLang="en-US" sz="900" dirty="0">
              <a:latin typeface="Calibri" pitchFamily="34" charset="0"/>
            </a:endParaRPr>
          </a:p>
        </p:txBody>
      </p:sp>
      <p:sp>
        <p:nvSpPr>
          <p:cNvPr id="1751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751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1406" tIns="45704" rIns="91406" bIns="45704"/>
          <a:lstStyle/>
          <a:p>
            <a:pPr eaLnBrk="1" hangingPunct="1">
              <a:spcBef>
                <a:spcPct val="0"/>
              </a:spcBef>
            </a:pPr>
            <a:endParaRPr lang="en-US" altLang="en-US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913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A4DD17-628F-4FC5-835D-49206C7A55BB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B229088-6F0E-468A-B002-0CED4A57F655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E44D6E-132F-4B5C-BB4F-9C6AC824FF18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3E1452-A508-4861-90A9-B2BA1B9A260D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D7ACCA-BE67-4FE0-8787-ACFDCFE5729C}" type="datetime1">
              <a:rPr lang="zh-CN" altLang="en-US" smtClean="0"/>
              <a:pPr/>
              <a:t>2017-10-26</a:t>
            </a:fld>
            <a:endParaRPr lang="zh-CN" altLang="en-US"/>
          </a:p>
        </p:txBody>
      </p:sp>
      <p:sp>
        <p:nvSpPr>
          <p:cNvPr id="8" name="灯片编号占位符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F3089F-F07E-4139-B960-905BA4D97781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zh-CN" altLang="zh-CN"/>
          </a:p>
        </p:txBody>
      </p:sp>
      <p:sp>
        <p:nvSpPr>
          <p:cNvPr id="10" name="标题 9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  <p:transition>
    <p:split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C26DCB-8AF6-4188-9E0C-AF8A5DDDB47F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7DB8E0-C591-4B22-8A25-08B7D910AE4E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E7D52FB-1C9C-4A4B-B799-E1B74C4A472B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AEB6A0-D3BB-4FE8-91A9-13842F74D9D4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EFAA10-D4FA-4A9A-9CA5-0560B355AE47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 sz="1800">
              <a:solidFill>
                <a:schemeClr val="tx1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6CE0CE-25AC-401C-8E71-3495AE12DC73}" type="slidenum">
              <a:rPr lang="zh-CN" altLang="en-US"/>
              <a:pPr/>
              <a:t>‹#›</a:t>
            </a:fld>
            <a:endParaRPr lang="zh-CN" altLang="en-US" sz="18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split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gi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文本占位符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smtClean="0">
                <a:sym typeface="Calibri" pitchFamily="34" charset="0"/>
              </a:rPr>
              <a:t>单击此处编辑母版文本样式</a:t>
            </a:r>
          </a:p>
          <a:p>
            <a:pPr lvl="1"/>
            <a:r>
              <a:rPr lang="zh-CN" smtClean="0">
                <a:sym typeface="Calibri" pitchFamily="34" charset="0"/>
              </a:rPr>
              <a:t>第二级</a:t>
            </a:r>
          </a:p>
          <a:p>
            <a:pPr lvl="2"/>
            <a:r>
              <a:rPr lang="zh-CN" smtClean="0">
                <a:sym typeface="Calibri" pitchFamily="34" charset="0"/>
              </a:rPr>
              <a:t>第三级</a:t>
            </a:r>
          </a:p>
          <a:p>
            <a:pPr lvl="3"/>
            <a:r>
              <a:rPr lang="zh-CN" smtClean="0">
                <a:sym typeface="Calibri" pitchFamily="34" charset="0"/>
              </a:rPr>
              <a:t>第四级</a:t>
            </a:r>
          </a:p>
          <a:p>
            <a:pPr lvl="4"/>
            <a:r>
              <a:rPr lang="zh-CN" smtClean="0">
                <a:sym typeface="Calibri" pitchFamily="34" charset="0"/>
              </a:rPr>
              <a:t>第五级</a:t>
            </a:r>
          </a:p>
        </p:txBody>
      </p:sp>
      <p:sp>
        <p:nvSpPr>
          <p:cNvPr id="2051" name="日期占位符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11D7ACCA-BE67-4FE0-8787-ACFDCFE5729C}" type="datetime1">
              <a:rPr lang="zh-CN" altLang="en-US"/>
              <a:pPr/>
              <a:t>2017-10-26</a:t>
            </a:fld>
            <a:endParaRPr lang="zh-CN" altLang="en-US"/>
          </a:p>
        </p:txBody>
      </p:sp>
      <p:sp>
        <p:nvSpPr>
          <p:cNvPr id="2052" name="页脚占位符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</a:defRPr>
            </a:lvl1pPr>
          </a:lstStyle>
          <a:p>
            <a:endParaRPr lang="zh-CN" altLang="zh-CN"/>
          </a:p>
        </p:txBody>
      </p:sp>
      <p:sp>
        <p:nvSpPr>
          <p:cNvPr id="2053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20F3089F-F07E-4139-B960-905BA4D97781}" type="slidenum">
              <a:rPr lang="zh-CN" altLang="en-US"/>
              <a:pPr/>
              <a:t>‹#›</a:t>
            </a:fld>
            <a:endParaRPr lang="zh-CN" altLang="en-US"/>
          </a:p>
        </p:txBody>
      </p:sp>
      <p:sp>
        <p:nvSpPr>
          <p:cNvPr id="2054" name="Rectangle 2"/>
          <p:cNvSpPr>
            <a:spLocks noChangeArrowheads="1"/>
          </p:cNvSpPr>
          <p:nvPr/>
        </p:nvSpPr>
        <p:spPr bwMode="auto">
          <a:xfrm>
            <a:off x="0" y="-177800"/>
            <a:ext cx="309563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zh-CN" altLang="zh-CN">
              <a:latin typeface="Calibri" pitchFamily="34" charset="0"/>
              <a:sym typeface="宋体" pitchFamily="2" charset="-122"/>
            </a:endParaRPr>
          </a:p>
        </p:txBody>
      </p:sp>
      <p:sp>
        <p:nvSpPr>
          <p:cNvPr id="2055" name="Text Box 5"/>
          <p:cNvSpPr>
            <a:spLocks noChangeArrowheads="1"/>
          </p:cNvSpPr>
          <p:nvPr/>
        </p:nvSpPr>
        <p:spPr bwMode="auto">
          <a:xfrm>
            <a:off x="3119438" y="6672263"/>
            <a:ext cx="3530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Calibri" pitchFamily="34" charset="0"/>
              </a:rPr>
              <a:t>confidential</a:t>
            </a:r>
            <a:endParaRPr lang="zh-CN" altLang="en-US"/>
          </a:p>
        </p:txBody>
      </p:sp>
      <p:pic>
        <p:nvPicPr>
          <p:cNvPr id="2056" name="Picture 35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316913" y="6021388"/>
            <a:ext cx="5969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7" name="Picture 6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4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8" name="Picture 7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6734175"/>
            <a:ext cx="9148763" cy="150813"/>
          </a:xfrm>
          <a:prstGeom prst="rect">
            <a:avLst/>
          </a:prstGeom>
          <a:solidFill>
            <a:srgbClr val="33CC33"/>
          </a:solidFill>
          <a:ln w="9525">
            <a:noFill/>
            <a:miter lim="800000"/>
            <a:headEnd/>
            <a:tailEnd/>
          </a:ln>
        </p:spPr>
      </p:pic>
      <p:sp>
        <p:nvSpPr>
          <p:cNvPr id="2059" name="Text Box 5"/>
          <p:cNvSpPr>
            <a:spLocks noChangeArrowheads="1"/>
          </p:cNvSpPr>
          <p:nvPr/>
        </p:nvSpPr>
        <p:spPr bwMode="auto">
          <a:xfrm>
            <a:off x="3119438" y="6672263"/>
            <a:ext cx="35306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000">
                <a:solidFill>
                  <a:schemeClr val="bg1"/>
                </a:solidFill>
                <a:latin typeface="Calibri" pitchFamily="34" charset="0"/>
                <a:cs typeface="Calibri" pitchFamily="34" charset="0"/>
                <a:sym typeface="Calibri" pitchFamily="34" charset="0"/>
              </a:rPr>
              <a:t>Confidential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ransition>
    <p:split/>
  </p:transition>
  <p:hf sldNum="0" hdr="0" ftr="0"/>
  <p:txStyles>
    <p:titleStyle>
      <a:lvl1pPr marL="9144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  <a:sym typeface="Calibri" pitchFamily="34" charset="0"/>
        </a:defRPr>
      </a:lvl1pPr>
      <a:lvl2pPr marL="9144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2pPr>
      <a:lvl3pPr marL="9144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3pPr>
      <a:lvl4pPr marL="9144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4pPr>
      <a:lvl5pPr marL="9144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5pPr>
      <a:lvl6pPr marL="13716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6pPr>
      <a:lvl7pPr marL="18288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7pPr>
      <a:lvl8pPr marL="22860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8pPr>
      <a:lvl9pPr marL="27432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tx1"/>
          </a:solidFill>
          <a:latin typeface="+mn-lt"/>
          <a:ea typeface="+mn-ea"/>
          <a:sym typeface="Calibri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  <a:ea typeface="+mn-ea"/>
          <a:sym typeface="Calibri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://www.i2.com/i2international/index.cfm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images.google.com/imgres?imgurl=http://img.archiexpo.com/images_ae/photo-g/power-socket-20808.jpg&amp;imgrefurl=http://www.archiexpo.com/prod/lutron-electronics/power-socket-4326-20808.html&amp;usg=__33BJ3I0VFtJ-Twly7GeyV1NmcDs=&amp;h=481&amp;w=481&amp;sz=22&amp;hl=ko&amp;start=9&amp;um=1&amp;tbnid=ICOjlO-QXd4w-M:&amp;tbnh=129&amp;tbnw=129&amp;prev=/images?q=power+socket&amp;hl=ko&amp;lr=&amp;um=1" TargetMode="External"/><Relationship Id="rId13" Type="http://schemas.openxmlformats.org/officeDocument/2006/relationships/image" Target="../media/image10.jpeg"/><Relationship Id="rId18" Type="http://schemas.openxmlformats.org/officeDocument/2006/relationships/hyperlink" Target="http://images.google.com/imgres?imgurl=http://farm1.static.flickr.com/65/164451891_8aa3d78f88.jpg&amp;imgrefurl=http://www.flickr.com/photos/wallyg/164451891/&amp;usg=__IBcq0t-kNb-YCjudol_fCFpjmZY=&amp;h=500&amp;w=333&amp;sz=102&amp;hl=ko&amp;start=31&amp;um=1&amp;tbnid=YnjAXM_x3Tix7M:&amp;tbnh=130&amp;tbnw=87&amp;prev=/images?q=company+building&amp;ndsp=18&amp;hl=ko&amp;lr=&amp;sa=N&amp;start=18&amp;um=1" TargetMode="External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15.png"/><Relationship Id="rId7" Type="http://schemas.openxmlformats.org/officeDocument/2006/relationships/image" Target="../media/image7.jpeg"/><Relationship Id="rId12" Type="http://schemas.openxmlformats.org/officeDocument/2006/relationships/hyperlink" Target="http://images.google.com/imgres?imgurl=http://img.etnews.co.kr/photonews/0902/090204062044_482425627_b.jpg&amp;imgrefurl=http://www.etnews.co.kr/photonews/view.html?serial=56762&amp;usg=__VCivQoyCmOCm0xcUFx3cuyTF2Ow=&amp;h=280&amp;w=400&amp;sz=39&amp;hl=ko&amp;start=47&amp;um=1&amp;tbnid=Km4bxc4emK1mGM:&amp;tbnh=87&amp;tbnw=124&amp;prev=/images?q=IDC&amp;ndsp=18&amp;hl=ko&amp;lr=&amp;sa=N&amp;start=36&amp;um=1" TargetMode="External"/><Relationship Id="rId17" Type="http://schemas.openxmlformats.org/officeDocument/2006/relationships/image" Target="../media/image12.jpeg"/><Relationship Id="rId2" Type="http://schemas.openxmlformats.org/officeDocument/2006/relationships/tags" Target="../tags/tag1.xml"/><Relationship Id="rId16" Type="http://schemas.openxmlformats.org/officeDocument/2006/relationships/hyperlink" Target="http://images.google.com/imgres?imgurl=http://4.bp.blogspot.com/_iRlXuzVuaSk/RpzIY1TC6KI/AAAAAAAAAcw/rt2snmMxeNU/s400/Phoenix+Building.JPG&amp;imgrefurl=http://historicbuildingsct.blogspot.com/2007_07_01_archive.html&amp;usg=__lxleSqkn7zUIQY2WDEeObx4lVvE=&amp;h=300&amp;w=400&amp;sz=31&amp;hl=ko&amp;start=3&amp;um=1&amp;tbnid=QF68DXSlD5CGZM:&amp;tbnh=93&amp;tbnw=124&amp;prev=/images?q=company+building&amp;hl=ko&amp;lr=&amp;um=1" TargetMode="External"/><Relationship Id="rId20" Type="http://schemas.openxmlformats.org/officeDocument/2006/relationships/image" Target="../media/image14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11" Type="http://schemas.openxmlformats.org/officeDocument/2006/relationships/image" Target="../media/image9.jpeg"/><Relationship Id="rId24" Type="http://schemas.openxmlformats.org/officeDocument/2006/relationships/image" Target="../media/image18.jpe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1.jpeg"/><Relationship Id="rId23" Type="http://schemas.openxmlformats.org/officeDocument/2006/relationships/image" Target="../media/image17.jpeg"/><Relationship Id="rId10" Type="http://schemas.openxmlformats.org/officeDocument/2006/relationships/hyperlink" Target="http://images.google.com/imgres?imgurl=http://upload.wikimedia.org/wikipedia/commons/6/6d/Datacenter-telecom_edit.jpg&amp;imgrefurl=http://commons.wikimedia.org/wiki/File:Datacenter-telecom_edit.jpg&amp;usg=__9SSf1_YXw5VfohL9pIoV2Xw9u8o=&amp;h=641&amp;w=811&amp;sz=256&amp;hl=ko&amp;start=29&amp;um=1&amp;tbnid=QnpO-SWyFOc81M:&amp;tbnh=114&amp;tbnw=144&amp;prev=/images?q=data+center&amp;ndsp=18&amp;hl=ko&amp;lr=&amp;sa=N&amp;start=18&amp;um=1" TargetMode="External"/><Relationship Id="rId19" Type="http://schemas.openxmlformats.org/officeDocument/2006/relationships/image" Target="../media/image13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jpeg"/><Relationship Id="rId14" Type="http://schemas.openxmlformats.org/officeDocument/2006/relationships/hyperlink" Target="http://images.google.com/imgres?imgurl=http://www.burnsupport.org.nz/images/cartoons/chimneys.gif&amp;imgrefurl=http://www.burnsupport.org.nz/pages/checklst.htm&amp;usg=__dB1_6e62vvy9lpSIJU3k3UckAa0=&amp;h=364&amp;w=465&amp;sz=6&amp;hl=ko&amp;start=155&amp;um=1&amp;tbnid=6I7bxwqG27fjeM:&amp;tbnh=100&amp;tbnw=128&amp;prev=/images?q=company+chimny+cartoon&amp;ndsp=18&amp;hl=ko&amp;lr=&amp;sa=N&amp;start=144&amp;um=1" TargetMode="External"/><Relationship Id="rId22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525"/>
            <a:ext cx="9142413" cy="684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副标题 2"/>
          <p:cNvSpPr>
            <a:spLocks noChangeArrowheads="1"/>
          </p:cNvSpPr>
          <p:nvPr/>
        </p:nvSpPr>
        <p:spPr bwMode="auto">
          <a:xfrm>
            <a:off x="0" y="1500174"/>
            <a:ext cx="9142412" cy="157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</a:pPr>
            <a:r>
              <a:rPr lang="en-US" altLang="zh-CN" sz="4000" b="1" dirty="0" smtClean="0"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4000" b="1" dirty="0" smtClean="0">
                <a:latin typeface="微软雅黑" pitchFamily="34" charset="-122"/>
                <a:ea typeface="微软雅黑" pitchFamily="34" charset="-122"/>
              </a:rPr>
              <a:t>基础设施虚拟化集成方案建议书</a:t>
            </a:r>
            <a:endParaRPr lang="en-US" altLang="zh-CN" sz="4000" b="1" dirty="0">
              <a:latin typeface="微软雅黑" pitchFamily="34" charset="-122"/>
              <a:ea typeface="微软雅黑" pitchFamily="34" charset="-122"/>
              <a:sym typeface="Times New Roman" pitchFamily="18" charset="0"/>
            </a:endParaRPr>
          </a:p>
          <a:p>
            <a:pPr marL="342900" indent="-342900" algn="ctr">
              <a:spcBef>
                <a:spcPct val="20000"/>
              </a:spcBef>
            </a:pPr>
            <a:r>
              <a:rPr lang="en-US" altLang="zh-CN" sz="4000" b="1" dirty="0" smtClean="0">
                <a:latin typeface="微软雅黑" pitchFamily="34" charset="-122"/>
                <a:ea typeface="微软雅黑" pitchFamily="34" charset="-122"/>
                <a:sym typeface="Times New Roman" pitchFamily="18" charset="0"/>
              </a:rPr>
              <a:t>2015-03</a:t>
            </a:r>
          </a:p>
          <a:p>
            <a:pPr marL="342900" indent="-342900" algn="ctr">
              <a:spcBef>
                <a:spcPct val="20000"/>
              </a:spcBef>
            </a:pPr>
            <a:endParaRPr lang="en-US" altLang="zh-CN" sz="3200" b="1" dirty="0" smtClean="0">
              <a:latin typeface="微软雅黑" pitchFamily="34" charset="-122"/>
              <a:ea typeface="微软雅黑" pitchFamily="34" charset="-122"/>
              <a:sym typeface="Times New Roman" pitchFamily="18" charset="0"/>
            </a:endParaRPr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3159125" y="5518150"/>
            <a:ext cx="3095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endParaRPr lang="zh-CN" altLang="zh-CN"/>
          </a:p>
        </p:txBody>
      </p:sp>
      <p:pic>
        <p:nvPicPr>
          <p:cNvPr id="9217" name="Picture 1" descr="E:\Marketing\清明上河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786190"/>
            <a:ext cx="9144000" cy="3071810"/>
          </a:xfrm>
          <a:prstGeom prst="rect">
            <a:avLst/>
          </a:prstGeom>
          <a:noFill/>
        </p:spPr>
      </p:pic>
      <p:sp>
        <p:nvSpPr>
          <p:cNvPr id="4101" name="Text Box 5"/>
          <p:cNvSpPr txBox="1">
            <a:spLocks noChangeArrowheads="1"/>
          </p:cNvSpPr>
          <p:nvPr/>
        </p:nvSpPr>
        <p:spPr bwMode="auto">
          <a:xfrm>
            <a:off x="179512" y="3427638"/>
            <a:ext cx="35719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报告人：刘通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1"/>
          <p:cNvSpPr txBox="1">
            <a:spLocks/>
          </p:cNvSpPr>
          <p:nvPr/>
        </p:nvSpPr>
        <p:spPr>
          <a:xfrm>
            <a:off x="12668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lvl="0" indent="-914400">
              <a:defRPr/>
            </a:pP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虚拟化集成项目的投资</a:t>
            </a: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rPr>
              <a:t>决策方案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  <p:graphicFrame>
        <p:nvGraphicFramePr>
          <p:cNvPr id="22" name="表格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5821273"/>
              </p:ext>
            </p:extLst>
          </p:nvPr>
        </p:nvGraphicFramePr>
        <p:xfrm>
          <a:off x="118618" y="836712"/>
          <a:ext cx="8917878" cy="5801351"/>
        </p:xfrm>
        <a:graphic>
          <a:graphicData uri="http://schemas.openxmlformats.org/drawingml/2006/table">
            <a:tbl>
              <a:tblPr/>
              <a:tblGrid>
                <a:gridCol w="8844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06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60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05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66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144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649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504056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以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0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台服务器的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IDC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机房为例，项目投入为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15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，以下是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年的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ROI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计算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按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～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整合比例作为参照标准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节省成本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964">
                <a:tc rowSpan="2" gridSpan="2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成本科目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（人民币计算）</a:t>
                      </a: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传统数据机房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虚拟化云计算数据中心（青云）</a:t>
                      </a:r>
                      <a:endParaRPr lang="en-US" altLang="zh-CN" sz="1400" b="0" i="0" u="none" strike="noStrike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9281">
                <a:tc gridSpan="2" v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数量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单价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总价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数量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单价（每月）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总价（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年）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可节约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4157">
                <a:tc rowSpan="5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硬件成本</a:t>
                      </a: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器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0(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虚拟机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核、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G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存）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605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6.3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63.7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HBA</a:t>
                      </a:r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卡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200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2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4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存储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TB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304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38.24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61.76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光纤交换设备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ISDN/DDN</a:t>
                      </a:r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专线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10M/s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smtClean="0">
                          <a:latin typeface="微软雅黑" pitchFamily="34" charset="-122"/>
                          <a:ea typeface="微软雅黑" pitchFamily="34" charset="-122"/>
                        </a:rPr>
                        <a:t>10M/s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189"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软件成本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高可用软件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6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OS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软件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5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零售软件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系统管理软件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1189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电力成本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5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1189">
                <a:tc rowSpan="2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人力成本</a:t>
                      </a: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以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个人支持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台服务器及门店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0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5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虚拟化集成项目实施人力成本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4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4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1189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TCO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节省</a:t>
                      </a:r>
                      <a:r>
                        <a:rPr lang="en-US" altLang="zh-CN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%</a:t>
                      </a:r>
                      <a:endParaRPr lang="en-US" altLang="zh-CN" sz="1400" b="0" i="0" u="none" strike="noStrike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8.6%</a:t>
                      </a:r>
                      <a:endParaRPr lang="en-US" altLang="zh-CN" sz="1400" b="0" i="0" u="none" strike="noStrike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五年总成本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09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418</a:t>
                      </a:r>
                      <a:r>
                        <a:rPr lang="zh-CN" altLang="en-US" sz="1400" b="0" i="0" u="none" strike="noStrike" kern="120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591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标题 1"/>
          <p:cNvSpPr txBox="1">
            <a:spLocks/>
          </p:cNvSpPr>
          <p:nvPr/>
        </p:nvSpPr>
        <p:spPr>
          <a:xfrm>
            <a:off x="12668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lvl="0" indent="-914400">
              <a:defRPr/>
            </a:pP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迁移到虚拟化环境的应用选择原则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gray">
          <a:xfrm>
            <a:off x="733747" y="3190347"/>
            <a:ext cx="1005403" cy="33855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场景选择</a:t>
            </a:r>
            <a:endParaRPr lang="en-US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2647" y="4866747"/>
            <a:ext cx="904875" cy="5969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sp>
        <p:nvSpPr>
          <p:cNvPr id="13" name="Text Box 12"/>
          <p:cNvSpPr txBox="1">
            <a:spLocks noChangeArrowheads="1"/>
          </p:cNvSpPr>
          <p:nvPr/>
        </p:nvSpPr>
        <p:spPr bwMode="auto">
          <a:xfrm rot="-5400000">
            <a:off x="-51531" y="4697486"/>
            <a:ext cx="1005403" cy="2893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zh-CN" altLang="en-US" sz="1600" b="1" dirty="0" smtClean="0">
                <a:latin typeface="微软雅黑" pitchFamily="34" charset="-122"/>
                <a:ea typeface="微软雅黑" pitchFamily="34" charset="-122"/>
              </a:rPr>
              <a:t>架构视角</a:t>
            </a:r>
            <a:endParaRPr lang="en-US" altLang="en-US" sz="16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AutoShape 13"/>
          <p:cNvSpPr>
            <a:spLocks/>
          </p:cNvSpPr>
          <p:nvPr/>
        </p:nvSpPr>
        <p:spPr bwMode="auto">
          <a:xfrm>
            <a:off x="654372" y="4233334"/>
            <a:ext cx="139700" cy="1228725"/>
          </a:xfrm>
          <a:prstGeom prst="leftBrace">
            <a:avLst>
              <a:gd name="adj1" fmla="val 73295"/>
              <a:gd name="adj2" fmla="val 50000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graphicFrame>
        <p:nvGraphicFramePr>
          <p:cNvPr id="15" name="Group 155"/>
          <p:cNvGraphicFramePr>
            <a:graphicFrameLocks noGrp="1"/>
          </p:cNvGraphicFramePr>
          <p:nvPr/>
        </p:nvGraphicFramePr>
        <p:xfrm>
          <a:off x="2140272" y="3090334"/>
          <a:ext cx="6680200" cy="2927130"/>
        </p:xfrm>
        <a:graphic>
          <a:graphicData uri="http://schemas.openxmlformats.org/drawingml/2006/table">
            <a:tbl>
              <a:tblPr/>
              <a:tblGrid>
                <a:gridCol w="1193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2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4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38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771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选择可行的应用迁移到云平台上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7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集团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业务单元</a:t>
                      </a: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业务单元</a:t>
                      </a: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业务单元</a:t>
                      </a: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zh-CN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业务单元</a:t>
                      </a:r>
                      <a:r>
                        <a:rPr kumimoji="0" lang="en-US" alt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366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638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4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24" marB="45724" horzOverflow="overflow">
                    <a:lnL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2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" name="Text Box 94"/>
          <p:cNvSpPr txBox="1">
            <a:spLocks noChangeArrowheads="1"/>
          </p:cNvSpPr>
          <p:nvPr/>
        </p:nvSpPr>
        <p:spPr bwMode="auto">
          <a:xfrm>
            <a:off x="2213297" y="3774547"/>
            <a:ext cx="6532563" cy="4413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" tIns="10800" rIns="18000" bIns="1080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主数据系统</a:t>
            </a:r>
            <a:r>
              <a:rPr lang="en-US" altLang="en-US" sz="1400" b="1" dirty="0" smtClean="0"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17" name="Text Box 95"/>
          <p:cNvSpPr txBox="1">
            <a:spLocks noChangeArrowheads="1"/>
          </p:cNvSpPr>
          <p:nvPr/>
        </p:nvSpPr>
        <p:spPr bwMode="auto">
          <a:xfrm>
            <a:off x="2213297" y="4282547"/>
            <a:ext cx="1096963" cy="10255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" tIns="10800" rIns="18000" bIns="1080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百货系统</a:t>
            </a:r>
            <a:endParaRPr lang="en-US" altLang="en-US" sz="14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Text Box 97"/>
          <p:cNvSpPr txBox="1">
            <a:spLocks noChangeArrowheads="1"/>
          </p:cNvSpPr>
          <p:nvPr/>
        </p:nvSpPr>
        <p:spPr bwMode="auto">
          <a:xfrm>
            <a:off x="3361050" y="4282547"/>
            <a:ext cx="1109661" cy="10255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" tIns="10800" rIns="18000" bIns="1080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altLang="en-US" sz="1400" b="1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超市系统</a:t>
            </a:r>
            <a:r>
              <a:rPr lang="en-US" altLang="en-US" sz="1400" b="1" dirty="0" smtClean="0">
                <a:latin typeface="微软雅黑" pitchFamily="34" charset="-122"/>
                <a:ea typeface="微软雅黑" pitchFamily="34" charset="-122"/>
              </a:rPr>
              <a:t> </a:t>
            </a:r>
          </a:p>
        </p:txBody>
      </p:sp>
      <p:sp>
        <p:nvSpPr>
          <p:cNvPr id="20" name="Text Box 98"/>
          <p:cNvSpPr txBox="1">
            <a:spLocks noChangeArrowheads="1"/>
          </p:cNvSpPr>
          <p:nvPr/>
        </p:nvSpPr>
        <p:spPr bwMode="auto">
          <a:xfrm>
            <a:off x="4516758" y="4280959"/>
            <a:ext cx="1096963" cy="10255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" tIns="10800" rIns="18000" bIns="1080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 供应链系统</a:t>
            </a:r>
            <a:endParaRPr lang="en-US" altLang="en-US" sz="14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Text Box 104"/>
          <p:cNvSpPr txBox="1">
            <a:spLocks noChangeArrowheads="1"/>
          </p:cNvSpPr>
          <p:nvPr/>
        </p:nvSpPr>
        <p:spPr bwMode="auto">
          <a:xfrm>
            <a:off x="2213297" y="5374747"/>
            <a:ext cx="6532563" cy="61118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" tIns="10800" rIns="18000" bIns="1080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  <a:defRPr/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虚拟化及云计算平台（搭建动态的</a:t>
            </a: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基础架构）</a:t>
            </a:r>
            <a:endParaRPr lang="en-US" altLang="en-US" sz="14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AutoShape 107"/>
          <p:cNvSpPr>
            <a:spLocks noChangeArrowheads="1"/>
          </p:cNvSpPr>
          <p:nvPr/>
        </p:nvSpPr>
        <p:spPr bwMode="auto">
          <a:xfrm>
            <a:off x="1835472" y="3788834"/>
            <a:ext cx="203200" cy="2197100"/>
          </a:xfrm>
          <a:prstGeom prst="homePlate">
            <a:avLst>
              <a:gd name="adj" fmla="val 100000"/>
            </a:avLst>
          </a:prstGeom>
          <a:solidFill>
            <a:srgbClr val="0000FF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altLang="en-US" b="1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3" name="Picture 13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6772" y="4280959"/>
            <a:ext cx="936625" cy="4953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</p:pic>
      <p:sp>
        <p:nvSpPr>
          <p:cNvPr id="24" name="SMARTPenAnnotation2461"/>
          <p:cNvSpPr>
            <a:spLocks/>
          </p:cNvSpPr>
          <p:nvPr/>
        </p:nvSpPr>
        <p:spPr bwMode="auto">
          <a:xfrm>
            <a:off x="3562672" y="6154192"/>
            <a:ext cx="11113" cy="11112"/>
          </a:xfrm>
          <a:custGeom>
            <a:avLst/>
            <a:gdLst>
              <a:gd name="T0" fmla="*/ 0 w 7"/>
              <a:gd name="T1" fmla="*/ 0 h 7"/>
              <a:gd name="T2" fmla="*/ 2147483647 w 7"/>
              <a:gd name="T3" fmla="*/ 2147483647 h 7"/>
              <a:gd name="T4" fmla="*/ 0 60000 65536"/>
              <a:gd name="T5" fmla="*/ 0 60000 65536"/>
              <a:gd name="T6" fmla="*/ 0 w 7"/>
              <a:gd name="T7" fmla="*/ 0 h 7"/>
              <a:gd name="T8" fmla="*/ 7 w 7"/>
              <a:gd name="T9" fmla="*/ 7 h 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7" h="7">
                <a:moveTo>
                  <a:pt x="0" y="0"/>
                </a:moveTo>
                <a:lnTo>
                  <a:pt x="6" y="6"/>
                </a:lnTo>
              </a:path>
            </a:pathLst>
          </a:custGeom>
          <a:noFill/>
          <a:ln w="38100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zh-CN"/>
          </a:p>
        </p:txBody>
      </p:sp>
      <p:sp>
        <p:nvSpPr>
          <p:cNvPr id="25" name="Line 157"/>
          <p:cNvSpPr>
            <a:spLocks noChangeShapeType="1"/>
          </p:cNvSpPr>
          <p:nvPr/>
        </p:nvSpPr>
        <p:spPr bwMode="auto">
          <a:xfrm flipH="1">
            <a:off x="336872" y="6011334"/>
            <a:ext cx="1473200" cy="0"/>
          </a:xfrm>
          <a:prstGeom prst="line">
            <a:avLst/>
          </a:prstGeom>
          <a:noFill/>
          <a:ln w="6350" cap="rnd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anchor="ctr"/>
          <a:lstStyle/>
          <a:p>
            <a:endParaRPr lang="zh-CN" altLang="en-US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6" name="Text Box 98"/>
          <p:cNvSpPr txBox="1">
            <a:spLocks noChangeArrowheads="1"/>
          </p:cNvSpPr>
          <p:nvPr/>
        </p:nvSpPr>
        <p:spPr bwMode="auto">
          <a:xfrm>
            <a:off x="5659766" y="4280954"/>
            <a:ext cx="811211" cy="10255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" tIns="10800" rIns="18000" bIns="1080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 电商系统</a:t>
            </a:r>
            <a:endParaRPr lang="en-US" altLang="en-US" sz="14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Text Box 98"/>
          <p:cNvSpPr txBox="1">
            <a:spLocks noChangeArrowheads="1"/>
          </p:cNvSpPr>
          <p:nvPr/>
        </p:nvSpPr>
        <p:spPr bwMode="auto">
          <a:xfrm>
            <a:off x="6517022" y="4282547"/>
            <a:ext cx="995370" cy="10255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" tIns="10800" rIns="18000" bIns="1080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 </a:t>
            </a:r>
            <a:r>
              <a:rPr lang="en-US" altLang="zh-CN" sz="1400" b="1" dirty="0" smtClean="0">
                <a:latin typeface="微软雅黑" pitchFamily="34" charset="-122"/>
                <a:ea typeface="微软雅黑" pitchFamily="34" charset="-122"/>
              </a:rPr>
              <a:t>CRM</a:t>
            </a: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系统</a:t>
            </a:r>
            <a:endParaRPr lang="en-US" altLang="en-US" sz="14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Text Box 98"/>
          <p:cNvSpPr txBox="1">
            <a:spLocks noChangeArrowheads="1"/>
          </p:cNvSpPr>
          <p:nvPr/>
        </p:nvSpPr>
        <p:spPr bwMode="auto">
          <a:xfrm>
            <a:off x="7563192" y="4280954"/>
            <a:ext cx="1182675" cy="10255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18000" tIns="10800" rIns="18000" bIns="1080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zh-CN" altLang="en-US" sz="1400" b="1" dirty="0" smtClean="0">
                <a:latin typeface="微软雅黑" pitchFamily="34" charset="-122"/>
                <a:ea typeface="微软雅黑" pitchFamily="34" charset="-122"/>
              </a:rPr>
              <a:t> 数据分析系统</a:t>
            </a:r>
            <a:endParaRPr lang="en-US" altLang="en-US" sz="1400" b="1" dirty="0" smtClean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内容占位符 2"/>
          <p:cNvSpPr txBox="1">
            <a:spLocks/>
          </p:cNvSpPr>
          <p:nvPr/>
        </p:nvSpPr>
        <p:spPr>
          <a:xfrm>
            <a:off x="304800" y="1089045"/>
            <a:ext cx="8388669" cy="3252788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CN" altLang="en-US" sz="2400" kern="0" noProof="0" dirty="0" smtClean="0"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选择应用的原则如下：</a:t>
            </a:r>
            <a:endParaRPr lang="en-US" altLang="zh-CN" sz="2400" kern="0" noProof="0" dirty="0" smtClean="0"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zh-CN" altLang="en-US" sz="1600" kern="0" dirty="0" smtClean="0"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业务量在全年销售周期波动比较大的应用</a:t>
            </a:r>
            <a:endParaRPr lang="en-US" altLang="zh-CN" sz="1600" kern="0" dirty="0" smtClean="0"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lvl="0" indent="-342900">
              <a:lnSpc>
                <a:spcPct val="12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系统可用性</a:t>
            </a:r>
            <a:r>
              <a:rPr lang="zh-CN" altLang="en-US" sz="1600" kern="0" dirty="0" smtClean="0"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要求非常高的应用，</a:t>
            </a: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比如全年需要达到</a:t>
            </a:r>
            <a:r>
              <a:rPr kumimoji="0" lang="en-US" altLang="zh-CN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99.99%</a:t>
            </a:r>
          </a:p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交付周期要求非常短的应用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lvl="0" indent="-342900">
              <a:lnSpc>
                <a:spcPct val="120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zh-CN" altLang="en-US" sz="1600" kern="0" dirty="0" smtClean="0"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有按使用量多少计费的应用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zh-CN" alt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</p:txBody>
      </p:sp>
    </p:spTree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7764" name="Group 260"/>
          <p:cNvGraphicFramePr>
            <a:graphicFrameLocks noGrp="1"/>
          </p:cNvGraphicFramePr>
          <p:nvPr/>
        </p:nvGraphicFramePr>
        <p:xfrm>
          <a:off x="574703" y="1089073"/>
          <a:ext cx="7959722" cy="5148239"/>
        </p:xfrm>
        <a:graphic>
          <a:graphicData uri="http://schemas.openxmlformats.org/drawingml/2006/table">
            <a:tbl>
              <a:tblPr/>
              <a:tblGrid>
                <a:gridCol w="13936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47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4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27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3664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620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7402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6206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6206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2337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6206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6206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746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项目阶段</a:t>
                      </a:r>
                      <a:endParaRPr kumimoji="0" lang="en-US" altLang="zh-CN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任务步骤</a:t>
                      </a:r>
                      <a:endParaRPr kumimoji="0" lang="en-US" altLang="zh-CN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1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2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3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4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5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6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7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8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9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周</a:t>
                      </a:r>
                      <a:r>
                        <a:rPr kumimoji="0" lang="en-US" altLang="zh-CN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10</a:t>
                      </a:r>
                    </a:p>
                  </a:txBody>
                  <a:tcPr marT="45713" marB="45713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7038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客户需求分析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1 – 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收集当前</a:t>
                      </a: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IT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环境信息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703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2 – 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撰写需求规格说明书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D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703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3 – 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需求确认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7038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方案架构设计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4–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撰写虚拟化集成设计方案 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703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5–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集成方案的架构评审 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7038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集成实施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6–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虚拟化系统安装配置和调试检测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703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7–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应用迁移和调试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703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8–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数据迁移和验证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27038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上线验收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9-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员工操作培训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703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10-</a:t>
                      </a:r>
                      <a:r>
                        <a:rPr kumimoji="0" lang="zh-CN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宋体" pitchFamily="2" charset="-122"/>
                          <a:cs typeface="Arial" pitchFamily="34" charset="0"/>
                        </a:rPr>
                        <a:t>虚拟化集成项目验收</a:t>
                      </a:r>
                      <a:endParaRPr kumimoji="0" lang="en-US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宋体" pitchFamily="2" charset="-122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6DA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zh-CN" altLang="zh-CN" sz="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45713" marB="457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pSp>
        <p:nvGrpSpPr>
          <p:cNvPr id="2" name="Group 273"/>
          <p:cNvGrpSpPr>
            <a:grpSpLocks/>
          </p:cNvGrpSpPr>
          <p:nvPr/>
        </p:nvGrpSpPr>
        <p:grpSpPr bwMode="auto">
          <a:xfrm>
            <a:off x="3768724" y="6201219"/>
            <a:ext cx="1660531" cy="296270"/>
            <a:chOff x="2198" y="4087"/>
            <a:chExt cx="869" cy="187"/>
          </a:xfrm>
        </p:grpSpPr>
        <p:sp>
          <p:nvSpPr>
            <p:cNvPr id="101601" name="Rectangle 892"/>
            <p:cNvSpPr>
              <a:spLocks noChangeArrowheads="1"/>
            </p:cNvSpPr>
            <p:nvPr/>
          </p:nvSpPr>
          <p:spPr bwMode="auto">
            <a:xfrm>
              <a:off x="2198" y="4087"/>
              <a:ext cx="869" cy="1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altLang="en-US" dirty="0"/>
            </a:p>
          </p:txBody>
        </p:sp>
        <p:sp>
          <p:nvSpPr>
            <p:cNvPr id="101602" name="Isosceles Triangle 39"/>
            <p:cNvSpPr>
              <a:spLocks noChangeArrowheads="1"/>
            </p:cNvSpPr>
            <p:nvPr/>
          </p:nvSpPr>
          <p:spPr bwMode="auto">
            <a:xfrm>
              <a:off x="2244" y="4124"/>
              <a:ext cx="81" cy="75"/>
            </a:xfrm>
            <a:prstGeom prst="triangle">
              <a:avLst>
                <a:gd name="adj" fmla="val 50000"/>
              </a:avLst>
            </a:prstGeom>
            <a:solidFill>
              <a:srgbClr val="FFC000"/>
            </a:solidFill>
            <a:ln w="63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117475" indent="-117475">
                <a:buClr>
                  <a:schemeClr val="tx1"/>
                </a:buClr>
                <a:buFont typeface="Wingdings" pitchFamily="2" charset="2"/>
                <a:buChar char="§"/>
              </a:pPr>
              <a:endParaRPr lang="en-US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101603" name="Text Box 890"/>
            <p:cNvSpPr txBox="1">
              <a:spLocks noChangeArrowheads="1"/>
            </p:cNvSpPr>
            <p:nvPr/>
          </p:nvSpPr>
          <p:spPr bwMode="auto">
            <a:xfrm>
              <a:off x="2310" y="4099"/>
              <a:ext cx="558" cy="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altLang="en-US" sz="1200" b="1" dirty="0">
                  <a:latin typeface="微软雅黑" pitchFamily="34" charset="-122"/>
                  <a:ea typeface="微软雅黑" pitchFamily="34" charset="-122"/>
                </a:rPr>
                <a:t>- </a:t>
              </a:r>
              <a:r>
                <a:rPr lang="zh-CN" altLang="en-US" sz="1200" b="1" dirty="0" smtClean="0">
                  <a:latin typeface="微软雅黑" pitchFamily="34" charset="-122"/>
                  <a:ea typeface="微软雅黑" pitchFamily="34" charset="-122"/>
                </a:rPr>
                <a:t>执行里程碑</a:t>
              </a:r>
              <a:endParaRPr lang="en-US" altLang="en-US" sz="1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01594" name="Isosceles Triangle 39"/>
          <p:cNvSpPr>
            <a:spLocks noChangeAspect="1" noChangeArrowheads="1"/>
          </p:cNvSpPr>
          <p:nvPr/>
        </p:nvSpPr>
        <p:spPr bwMode="auto">
          <a:xfrm>
            <a:off x="5601568" y="3591173"/>
            <a:ext cx="165100" cy="141288"/>
          </a:xfrm>
          <a:prstGeom prst="triangle">
            <a:avLst>
              <a:gd name="adj" fmla="val 50000"/>
            </a:avLst>
          </a:prstGeom>
          <a:solidFill>
            <a:srgbClr val="FFC000"/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117475" indent="-117475">
              <a:buClr>
                <a:schemeClr val="tx1"/>
              </a:buClr>
              <a:buFont typeface="Wingdings" pitchFamily="2" charset="2"/>
              <a:buChar char="§"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1598" name="Isosceles Triangle 39"/>
          <p:cNvSpPr>
            <a:spLocks noChangeAspect="1" noChangeArrowheads="1"/>
          </p:cNvSpPr>
          <p:nvPr/>
        </p:nvSpPr>
        <p:spPr bwMode="auto">
          <a:xfrm>
            <a:off x="6528916" y="4908526"/>
            <a:ext cx="165100" cy="141287"/>
          </a:xfrm>
          <a:prstGeom prst="triangle">
            <a:avLst>
              <a:gd name="adj" fmla="val 50000"/>
            </a:avLst>
          </a:prstGeom>
          <a:solidFill>
            <a:srgbClr val="FFC000"/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117475" indent="-117475">
              <a:buClr>
                <a:schemeClr val="tx1"/>
              </a:buClr>
              <a:buFont typeface="Wingdings" pitchFamily="2" charset="2"/>
              <a:buChar char="§"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01599" name="Isosceles Triangle 39"/>
          <p:cNvSpPr>
            <a:spLocks noChangeAspect="1" noChangeArrowheads="1"/>
          </p:cNvSpPr>
          <p:nvPr/>
        </p:nvSpPr>
        <p:spPr bwMode="auto">
          <a:xfrm>
            <a:off x="5135364" y="2688977"/>
            <a:ext cx="165100" cy="141288"/>
          </a:xfrm>
          <a:prstGeom prst="triangle">
            <a:avLst>
              <a:gd name="adj" fmla="val 50000"/>
            </a:avLst>
          </a:prstGeom>
          <a:solidFill>
            <a:srgbClr val="FFC000"/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117475" indent="-117475">
              <a:buClr>
                <a:schemeClr val="tx1"/>
              </a:buClr>
              <a:buFont typeface="Wingdings" pitchFamily="2" charset="2"/>
              <a:buChar char="§"/>
            </a:pPr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18" name="标题 1"/>
          <p:cNvSpPr txBox="1">
            <a:spLocks/>
          </p:cNvSpPr>
          <p:nvPr/>
        </p:nvSpPr>
        <p:spPr>
          <a:xfrm>
            <a:off x="12668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lvl="0" indent="-914400">
              <a:defRPr/>
            </a:pP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虚拟化集成项目的计划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  <p:sp>
        <p:nvSpPr>
          <p:cNvPr id="11" name="Isosceles Triangle 39"/>
          <p:cNvSpPr>
            <a:spLocks noChangeAspect="1" noChangeArrowheads="1"/>
          </p:cNvSpPr>
          <p:nvPr/>
        </p:nvSpPr>
        <p:spPr bwMode="auto">
          <a:xfrm>
            <a:off x="7981776" y="5735985"/>
            <a:ext cx="165100" cy="141287"/>
          </a:xfrm>
          <a:prstGeom prst="triangle">
            <a:avLst>
              <a:gd name="adj" fmla="val 50000"/>
            </a:avLst>
          </a:prstGeom>
          <a:solidFill>
            <a:srgbClr val="FFC000"/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pPr marL="117475" indent="-117475">
              <a:buClr>
                <a:schemeClr val="tx1"/>
              </a:buClr>
              <a:buFont typeface="Wingdings" pitchFamily="2" charset="2"/>
              <a:buChar char="§"/>
            </a:pPr>
            <a:endParaRPr lang="en-US" alt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Line 3"/>
          <p:cNvSpPr>
            <a:spLocks noChangeShapeType="1"/>
          </p:cNvSpPr>
          <p:nvPr/>
        </p:nvSpPr>
        <p:spPr bwMode="auto">
          <a:xfrm>
            <a:off x="3318933" y="3805238"/>
            <a:ext cx="582506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zh-CN" altLang="en-US"/>
          </a:p>
        </p:txBody>
      </p:sp>
      <p:pic>
        <p:nvPicPr>
          <p:cNvPr id="29699" name="Picture 6" descr="Find i2 office locations worldwide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68056" y="4581526"/>
            <a:ext cx="3357033" cy="189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0" name="Picture 1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25990" y="1484314"/>
            <a:ext cx="1984022" cy="22764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9701" name="Picture 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16323" y="3973513"/>
            <a:ext cx="2690988" cy="392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2" name="Text Box 14"/>
          <p:cNvSpPr txBox="1">
            <a:spLocks noChangeArrowheads="1"/>
          </p:cNvSpPr>
          <p:nvPr/>
        </p:nvSpPr>
        <p:spPr bwMode="auto">
          <a:xfrm>
            <a:off x="5659967" y="4724400"/>
            <a:ext cx="3008489" cy="94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3302" tIns="41651" rIns="83302" bIns="41651">
            <a:spAutoFit/>
          </a:bodyPr>
          <a:lstStyle/>
          <a:p>
            <a:pPr defTabSz="833438"/>
            <a:r>
              <a:rPr lang="en-US" altLang="zh-CN" sz="1400" b="1" dirty="0">
                <a:latin typeface="Tahoma" pitchFamily="34" charset="0"/>
                <a:ea typeface="华文中宋" pitchFamily="2" charset="-122"/>
              </a:rPr>
              <a:t> </a:t>
            </a:r>
          </a:p>
          <a:p>
            <a:pPr defTabSz="833438"/>
            <a:r>
              <a:rPr lang="zh-CN" altLang="en-US" sz="1400" b="1" dirty="0">
                <a:solidFill>
                  <a:srgbClr val="FF3300"/>
                </a:solidFill>
                <a:latin typeface="Tahoma" pitchFamily="34" charset="0"/>
                <a:ea typeface="华文中宋" pitchFamily="2" charset="-122"/>
              </a:rPr>
              <a:t>财富根基  融通四海</a:t>
            </a:r>
          </a:p>
          <a:p>
            <a:pPr defTabSz="833438"/>
            <a:r>
              <a:rPr lang="en-US" altLang="zh-CN" sz="1400" b="1" dirty="0" err="1">
                <a:solidFill>
                  <a:srgbClr val="FF3300"/>
                </a:solidFill>
                <a:latin typeface="Tahoma" pitchFamily="34" charset="0"/>
              </a:rPr>
              <a:t>e</a:t>
            </a:r>
            <a:r>
              <a:rPr lang="en-US" altLang="zh-CN" sz="1400" b="1" dirty="0" err="1">
                <a:latin typeface="Tahoma" pitchFamily="34" charset="0"/>
              </a:rPr>
              <a:t>Future,The</a:t>
            </a:r>
            <a:r>
              <a:rPr lang="en-US" altLang="zh-CN" sz="1400" b="1" dirty="0">
                <a:latin typeface="Tahoma" pitchFamily="34" charset="0"/>
              </a:rPr>
              <a:t> pedestal of fortune</a:t>
            </a:r>
          </a:p>
        </p:txBody>
      </p:sp>
      <p:pic>
        <p:nvPicPr>
          <p:cNvPr id="29703" name="Picture 1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63912" y="4005264"/>
            <a:ext cx="1573389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4" name="Text Box 16"/>
          <p:cNvSpPr txBox="1">
            <a:spLocks noChangeArrowheads="1"/>
          </p:cNvSpPr>
          <p:nvPr/>
        </p:nvSpPr>
        <p:spPr bwMode="auto">
          <a:xfrm>
            <a:off x="6172200" y="1773238"/>
            <a:ext cx="1920523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zh-CN" altLang="en-US" sz="4800" dirty="0"/>
              <a:t>谢谢！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标题 1"/>
          <p:cNvSpPr txBox="1">
            <a:spLocks/>
          </p:cNvSpPr>
          <p:nvPr/>
        </p:nvSpPr>
        <p:spPr>
          <a:xfrm>
            <a:off x="-32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marR="0" lvl="0" indent="-9144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IT</a:t>
            </a: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基础设施虚拟化和云计算的理想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  <p:sp>
        <p:nvSpPr>
          <p:cNvPr id="46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新宋体" pitchFamily="49" charset="-122"/>
              </a:defRPr>
            </a:lvl9pPr>
          </a:lstStyle>
          <a:p>
            <a:pPr>
              <a:defRPr/>
            </a:pPr>
            <a:fld id="{A3B2A3BB-F9AD-476E-8A9E-47DB12B2B235}" type="slidenum">
              <a:rPr kumimoji="0" lang="en-US" altLang="zh-CN" sz="1400" smtClean="0">
                <a:solidFill>
                  <a:srgbClr val="7F7F7F"/>
                </a:solidFill>
                <a:latin typeface="微软雅黑" pitchFamily="34" charset="-122"/>
                <a:ea typeface="微软雅黑" pitchFamily="34" charset="-122"/>
              </a:rPr>
              <a:pPr>
                <a:defRPr/>
              </a:pPr>
              <a:t>2</a:t>
            </a:fld>
            <a:endParaRPr kumimoji="0" lang="zh-CN" altLang="zh-CN" sz="1400" dirty="0" smtClean="0">
              <a:solidFill>
                <a:srgbClr val="7F7F7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7" name="Picture 2" descr="http://www.ge.com/innovation/timeline/images/innovation/1879_in_dynamo_m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28663" y="1614766"/>
            <a:ext cx="1143008" cy="88359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8" name="Picture 4" descr="http://www.ge.com/innovation/timeline/images/innovation/1882_in_central-power_m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357554" y="1632240"/>
            <a:ext cx="1217879" cy="9112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9" name="Rectangle 7"/>
          <p:cNvSpPr>
            <a:spLocks noChangeArrowheads="1"/>
          </p:cNvSpPr>
          <p:nvPr/>
        </p:nvSpPr>
        <p:spPr bwMode="auto">
          <a:xfrm>
            <a:off x="357187" y="2786047"/>
            <a:ext cx="17859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US" altLang="ko-KR" sz="1200" dirty="0">
                <a:latin typeface="Arial Narrow" pitchFamily="34" charset="0"/>
                <a:ea typeface="仿宋_GB2312"/>
                <a:cs typeface="仿宋_GB2312"/>
              </a:rPr>
              <a:t>1879, The dynamo</a:t>
            </a:r>
            <a:endParaRPr lang="ko-KR" altLang="en-US" sz="1200">
              <a:latin typeface="Arial Narrow" pitchFamily="34" charset="0"/>
              <a:ea typeface="仿宋_GB2312"/>
              <a:cs typeface="仿宋_GB2312"/>
            </a:endParaRPr>
          </a:p>
        </p:txBody>
      </p:sp>
      <p:pic>
        <p:nvPicPr>
          <p:cNvPr id="50" name="Picture 8" descr="http://tbn3.google.com/images?q=tbn:ICOjlO-QXd4w-M:http://img.archiexpo.com/images_ae/photo-g/power-socket-20808.jp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786687" y="2328847"/>
            <a:ext cx="7143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10" descr="http://tbn2.google.com/images?q=tbn:QnpO-SWyFOc81M:http://upload.wikimedia.org/wikipedia/commons/6/6d/Datacenter-telecom_edit.jpg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42942" y="4973631"/>
            <a:ext cx="1143008" cy="9048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2" name="Picture 14" descr="http://tbn3.google.com/images?q=tbn:Km4bxc4emK1mGM:http://img.etnews.co.kr/photonews/0902/090204062044_482425627_b.jp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643306" y="5116507"/>
            <a:ext cx="1181100" cy="8286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3" name="Picture 16" descr="http://tbn3.google.com/images?q=tbn:6I7bxwqG27fjeM:http://www.burnsupport.org.nz/images/cartoons/chimneys.gif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57187" y="1257284"/>
            <a:ext cx="854075" cy="666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4" name="Picture 16" descr="http://tbn3.google.com/images?q=tbn:6I7bxwqG27fjeM:http://www.burnsupport.org.nz/images/cartoons/chimneys.gif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786187" y="1142984"/>
            <a:ext cx="571500" cy="4460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Picture 16" descr="http://tbn3.google.com/images?q=tbn:6I7bxwqG27fjeM:http://www.burnsupport.org.nz/images/cartoons/chimneys.gif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71999" y="1328722"/>
            <a:ext cx="549275" cy="428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6" name="Picture 17" descr="http://tbn3.google.com/images?q=tbn:6I7bxwqG27fjeM:http://www.burnsupport.org.nz/images/cartoons/chimneys.gif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571999" y="2043097"/>
            <a:ext cx="627063" cy="4905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7" name="Picture 16" descr="http://tbn3.google.com/images?q=tbn:6I7bxwqG27fjeM:http://www.burnsupport.org.nz/images/cartoons/chimneys.gif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214687" y="1176322"/>
            <a:ext cx="500062" cy="3905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8" name="Picture 18" descr="http://tbn0.google.com/images?q=tbn:QF68DXSlD5CGZM:http://4.bp.blogspot.com/_iRlXuzVuaSk/RpzIY1TC6KI/AAAAAAAAAcw/rt2snmMxeNU/s400/Phoenix%2BBuilding.JPG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57158" y="4616441"/>
            <a:ext cx="1085849" cy="8143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9" name="Picture 20" descr="http://tbn0.google.com/images?q=tbn:YnjAXM_x3Tix7M:http://farm1.static.flickr.com/65/164451891_8aa3d78f88.jpg">
            <a:hlinkClick r:id="rId18"/>
          </p:cNvPr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643438" y="4616441"/>
            <a:ext cx="637441" cy="9524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0" name="Picture 18" descr="http://tbn0.google.com/images?q=tbn:QF68DXSlD5CGZM:http://4.bp.blogspot.com/_iRlXuzVuaSk/RpzIY1TC6KI/AAAAAAAAAcw/rt2snmMxeNU/s400/Phoenix%2BBuilding.JPG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143240" y="4902193"/>
            <a:ext cx="714380" cy="53578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1" name="Rectangle 22"/>
          <p:cNvSpPr>
            <a:spLocks noChangeArrowheads="1"/>
          </p:cNvSpPr>
          <p:nvPr/>
        </p:nvSpPr>
        <p:spPr bwMode="auto">
          <a:xfrm>
            <a:off x="790574" y="5902309"/>
            <a:ext cx="99853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US" altLang="ko-KR" sz="1200" dirty="0">
                <a:latin typeface="Arial Narrow" pitchFamily="34" charset="0"/>
                <a:ea typeface="仿宋_GB2312"/>
                <a:cs typeface="仿宋_GB2312"/>
              </a:rPr>
              <a:t>Corporate DC</a:t>
            </a:r>
            <a:endParaRPr lang="ko-KR" altLang="en-US" sz="1200">
              <a:latin typeface="Arial Narrow" pitchFamily="34" charset="0"/>
              <a:ea typeface="仿宋_GB2312"/>
              <a:cs typeface="仿宋_GB2312"/>
            </a:endParaRPr>
          </a:p>
        </p:txBody>
      </p:sp>
      <p:sp>
        <p:nvSpPr>
          <p:cNvPr id="62" name="Rectangle 23"/>
          <p:cNvSpPr>
            <a:spLocks noChangeArrowheads="1"/>
          </p:cNvSpPr>
          <p:nvPr/>
        </p:nvSpPr>
        <p:spPr bwMode="auto">
          <a:xfrm>
            <a:off x="3986212" y="5973747"/>
            <a:ext cx="4000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US" altLang="ko-KR" sz="1200" dirty="0">
                <a:latin typeface="Arial Narrow" pitchFamily="34" charset="0"/>
                <a:ea typeface="仿宋_GB2312"/>
                <a:cs typeface="仿宋_GB2312"/>
              </a:rPr>
              <a:t>IDC</a:t>
            </a:r>
            <a:endParaRPr lang="ko-KR" altLang="en-US" sz="1200">
              <a:latin typeface="Arial Narrow" pitchFamily="34" charset="0"/>
              <a:ea typeface="仿宋_GB2312"/>
              <a:cs typeface="仿宋_GB2312"/>
            </a:endParaRPr>
          </a:p>
        </p:txBody>
      </p:sp>
      <p:pic>
        <p:nvPicPr>
          <p:cNvPr id="63" name="Picture 24" descr="http://axiscreativegrp.com/blog/wp-content/uploads/2008/08/cloud-computing.jp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240462" y="4586272"/>
            <a:ext cx="1828800" cy="1357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26" descr="http://solar-photon.com/images/dark-korea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215074" y="1211549"/>
            <a:ext cx="1473281" cy="161766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5" name="Picture 28" descr="http://helpdesk.ohiodominican.edu/IS/Help%20Docs/safe/Images/rj45jack.jpg"/>
          <p:cNvPicPr>
            <a:picLocks noChangeAspect="1" noChangeArrowheads="1"/>
          </p:cNvPicPr>
          <p:nvPr/>
        </p:nvPicPr>
        <p:blipFill>
          <a:blip r:embed="rId22" cstate="print"/>
          <a:srcRect l="6250" t="6000" r="12497" b="7858"/>
          <a:stretch>
            <a:fillRect/>
          </a:stretch>
        </p:blipFill>
        <p:spPr bwMode="auto">
          <a:xfrm>
            <a:off x="8143900" y="5353045"/>
            <a:ext cx="635422" cy="6032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6" name="Rectangle 28"/>
          <p:cNvSpPr>
            <a:spLocks noChangeArrowheads="1"/>
          </p:cNvSpPr>
          <p:nvPr/>
        </p:nvSpPr>
        <p:spPr bwMode="auto">
          <a:xfrm>
            <a:off x="2786062" y="2786047"/>
            <a:ext cx="29289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US" altLang="ko-KR" sz="1200" dirty="0">
                <a:solidFill>
                  <a:srgbClr val="000000"/>
                </a:solidFill>
                <a:latin typeface="Arial Narrow" pitchFamily="34" charset="0"/>
                <a:ea typeface="仿宋_GB2312"/>
                <a:cs typeface="仿宋_GB2312"/>
              </a:rPr>
              <a:t>1882, Central power station</a:t>
            </a:r>
            <a:endParaRPr lang="ko-KR" altLang="en-US" sz="1200">
              <a:solidFill>
                <a:srgbClr val="000000"/>
              </a:solidFill>
              <a:latin typeface="Arial Narrow" pitchFamily="34" charset="0"/>
              <a:ea typeface="仿宋_GB2312"/>
              <a:cs typeface="仿宋_GB2312"/>
            </a:endParaRPr>
          </a:p>
        </p:txBody>
      </p:sp>
      <p:pic>
        <p:nvPicPr>
          <p:cNvPr id="67" name="Picture 30" descr="단상2선식 계량기"/>
          <p:cNvPicPr>
            <a:picLocks noChangeAspect="1" noChangeArrowheads="1"/>
          </p:cNvPicPr>
          <p:nvPr/>
        </p:nvPicPr>
        <p:blipFill>
          <a:blip r:embed="rId23" cstate="print"/>
          <a:srcRect l="23370" t="15962" r="21388" b="14319"/>
          <a:stretch>
            <a:fillRect/>
          </a:stretch>
        </p:blipFill>
        <p:spPr bwMode="auto">
          <a:xfrm>
            <a:off x="7715249" y="1204897"/>
            <a:ext cx="857250" cy="108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" name="Picture 32" descr="http://www.idcc.net/aolimages/UsageMeter.jp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8072437" y="4495784"/>
            <a:ext cx="80645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Striped Right Arrow 32"/>
          <p:cNvSpPr/>
          <p:nvPr/>
        </p:nvSpPr>
        <p:spPr bwMode="auto">
          <a:xfrm>
            <a:off x="2285999" y="1828784"/>
            <a:ext cx="857250" cy="714375"/>
          </a:xfrm>
          <a:prstGeom prst="stripedRightArrow">
            <a:avLst/>
          </a:prstGeom>
          <a:solidFill>
            <a:srgbClr val="BFBFB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457200" eaLnBrk="0" hangingPunct="0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ko-KR" altLang="en-US" sz="1600">
              <a:solidFill>
                <a:srgbClr val="FFFFF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70" name="Striped Right Arrow 33"/>
          <p:cNvSpPr/>
          <p:nvPr/>
        </p:nvSpPr>
        <p:spPr bwMode="auto">
          <a:xfrm>
            <a:off x="5286374" y="1757347"/>
            <a:ext cx="857250" cy="714375"/>
          </a:xfrm>
          <a:prstGeom prst="stripedRightArrow">
            <a:avLst/>
          </a:prstGeom>
          <a:solidFill>
            <a:srgbClr val="BFBFB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457200" eaLnBrk="0" hangingPunct="0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ko-KR" altLang="en-US" sz="1600">
              <a:solidFill>
                <a:srgbClr val="FFFFF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71" name="Striped Right Arrow 34"/>
          <p:cNvSpPr/>
          <p:nvPr/>
        </p:nvSpPr>
        <p:spPr bwMode="auto">
          <a:xfrm>
            <a:off x="2214562" y="4973622"/>
            <a:ext cx="857250" cy="714375"/>
          </a:xfrm>
          <a:prstGeom prst="stripedRightArrow">
            <a:avLst/>
          </a:prstGeom>
          <a:solidFill>
            <a:srgbClr val="BFBFB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457200" eaLnBrk="0" hangingPunct="0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ko-KR" altLang="en-US" sz="1600">
              <a:solidFill>
                <a:srgbClr val="FFFFF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72" name="Striped Right Arrow 35"/>
          <p:cNvSpPr/>
          <p:nvPr/>
        </p:nvSpPr>
        <p:spPr bwMode="auto">
          <a:xfrm>
            <a:off x="5357812" y="4902184"/>
            <a:ext cx="857250" cy="714375"/>
          </a:xfrm>
          <a:prstGeom prst="stripedRightArrow">
            <a:avLst/>
          </a:prstGeom>
          <a:solidFill>
            <a:srgbClr val="BFBFB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457200" eaLnBrk="0" hangingPunct="0">
              <a:buClr>
                <a:srgbClr val="000000"/>
              </a:buClr>
              <a:buSzPct val="100000"/>
              <a:buFont typeface="Times New Roman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ko-KR" altLang="en-US" sz="1600">
              <a:solidFill>
                <a:srgbClr val="FFFFFF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73" name="Rectangle 3"/>
          <p:cNvSpPr txBox="1">
            <a:spLocks/>
          </p:cNvSpPr>
          <p:nvPr/>
        </p:nvSpPr>
        <p:spPr bwMode="auto">
          <a:xfrm>
            <a:off x="542924" y="3143234"/>
            <a:ext cx="7796213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lnSpc>
                <a:spcPct val="120000"/>
              </a:lnSpc>
              <a:spcBef>
                <a:spcPct val="20000"/>
              </a:spcBef>
              <a:buClr>
                <a:srgbClr val="FF0000"/>
              </a:buClr>
              <a:defRPr/>
            </a:pPr>
            <a:r>
              <a:rPr lang="zh-CN" altLang="en-US" sz="3000" kern="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虚拟化及云</a:t>
            </a:r>
            <a:r>
              <a:rPr lang="zh-CN" altLang="en-US" sz="3000" kern="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计算所倡导的是一种新的基于网络的</a:t>
            </a:r>
            <a:r>
              <a:rPr lang="en-US" altLang="zh-CN" sz="3000" kern="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IT</a:t>
            </a:r>
            <a:r>
              <a:rPr lang="zh-CN" altLang="en-US" sz="3000" kern="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服务的供给、消费、交付模式！</a:t>
            </a:r>
            <a:endParaRPr lang="en-US" altLang="ja-JP" sz="3000" kern="0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Text Box 32"/>
          <p:cNvSpPr txBox="1">
            <a:spLocks noChangeArrowheads="1"/>
          </p:cNvSpPr>
          <p:nvPr/>
        </p:nvSpPr>
        <p:spPr bwMode="auto">
          <a:xfrm>
            <a:off x="539750" y="2108200"/>
            <a:ext cx="1079500" cy="116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CC66">
                <a:gamma/>
                <a:shade val="60000"/>
                <a:invGamma/>
              </a:srgbClr>
            </a:prstShdw>
          </a:effectLst>
        </p:spPr>
        <p:txBody>
          <a:bodyPr lIns="91393" tIns="45696" rIns="91393" bIns="45696">
            <a:spAutoFit/>
          </a:bodyPr>
          <a:lstStyle/>
          <a:p>
            <a:pPr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rgbClr val="0099CC"/>
                </a:solidFill>
                <a:latin typeface="微软雅黑" pitchFamily="34" charset="-122"/>
                <a:ea typeface="微软雅黑" pitchFamily="34" charset="-122"/>
              </a:rPr>
              <a:t>商业视角</a:t>
            </a:r>
            <a:endParaRPr lang="en-US" altLang="zh-CN" sz="1600" kern="0" dirty="0">
              <a:solidFill>
                <a:srgbClr val="0099CC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信息电厂</a:t>
            </a:r>
            <a:endParaRPr lang="en-US" altLang="zh-CN" sz="16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按需获取</a:t>
            </a:r>
          </a:p>
        </p:txBody>
      </p:sp>
      <p:grpSp>
        <p:nvGrpSpPr>
          <p:cNvPr id="2" name="组合 19"/>
          <p:cNvGrpSpPr>
            <a:grpSpLocks/>
          </p:cNvGrpSpPr>
          <p:nvPr/>
        </p:nvGrpSpPr>
        <p:grpSpPr bwMode="auto">
          <a:xfrm>
            <a:off x="5064125" y="2343150"/>
            <a:ext cx="631825" cy="2624138"/>
            <a:chOff x="6613223" y="1674161"/>
            <a:chExt cx="1629992" cy="4023110"/>
          </a:xfrm>
        </p:grpSpPr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6613223" y="1674161"/>
              <a:ext cx="1629992" cy="2066316"/>
            </a:xfrm>
            <a:custGeom>
              <a:avLst/>
              <a:gdLst>
                <a:gd name="T0" fmla="*/ 0 w 282"/>
                <a:gd name="T1" fmla="*/ 330 h 448"/>
                <a:gd name="T2" fmla="*/ 282 w 282"/>
                <a:gd name="T3" fmla="*/ 0 h 448"/>
                <a:gd name="T4" fmla="*/ 282 w 282"/>
                <a:gd name="T5" fmla="*/ 316 h 448"/>
                <a:gd name="T6" fmla="*/ 0 w 282"/>
                <a:gd name="T7" fmla="*/ 448 h 448"/>
                <a:gd name="T8" fmla="*/ 0 w 282"/>
                <a:gd name="T9" fmla="*/ 33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448">
                  <a:moveTo>
                    <a:pt x="0" y="330"/>
                  </a:moveTo>
                  <a:cubicBezTo>
                    <a:pt x="0" y="330"/>
                    <a:pt x="183" y="232"/>
                    <a:pt x="282" y="0"/>
                  </a:cubicBezTo>
                  <a:cubicBezTo>
                    <a:pt x="282" y="316"/>
                    <a:pt x="282" y="316"/>
                    <a:pt x="282" y="316"/>
                  </a:cubicBezTo>
                  <a:cubicBezTo>
                    <a:pt x="282" y="316"/>
                    <a:pt x="156" y="422"/>
                    <a:pt x="0" y="448"/>
                  </a:cubicBezTo>
                  <a:lnTo>
                    <a:pt x="0" y="33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alpha val="0"/>
                  </a:schemeClr>
                </a:gs>
                <a:gs pos="99583">
                  <a:schemeClr val="bg1">
                    <a:alpha val="0"/>
                  </a:schemeClr>
                </a:gs>
                <a:gs pos="50000">
                  <a:srgbClr val="AFEAFF"/>
                </a:gs>
              </a:gsLst>
              <a:lin ang="0" scaled="0"/>
            </a:gra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zh-CN" altLang="en-US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6613223" y="3630955"/>
              <a:ext cx="1629992" cy="2066316"/>
            </a:xfrm>
            <a:custGeom>
              <a:avLst/>
              <a:gdLst>
                <a:gd name="T0" fmla="*/ 0 w 282"/>
                <a:gd name="T1" fmla="*/ 118 h 448"/>
                <a:gd name="T2" fmla="*/ 282 w 282"/>
                <a:gd name="T3" fmla="*/ 448 h 448"/>
                <a:gd name="T4" fmla="*/ 282 w 282"/>
                <a:gd name="T5" fmla="*/ 132 h 448"/>
                <a:gd name="T6" fmla="*/ 0 w 282"/>
                <a:gd name="T7" fmla="*/ 0 h 448"/>
                <a:gd name="T8" fmla="*/ 0 w 282"/>
                <a:gd name="T9" fmla="*/ 11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448">
                  <a:moveTo>
                    <a:pt x="0" y="118"/>
                  </a:moveTo>
                  <a:cubicBezTo>
                    <a:pt x="0" y="118"/>
                    <a:pt x="183" y="216"/>
                    <a:pt x="282" y="448"/>
                  </a:cubicBezTo>
                  <a:cubicBezTo>
                    <a:pt x="282" y="132"/>
                    <a:pt x="282" y="132"/>
                    <a:pt x="282" y="132"/>
                  </a:cubicBezTo>
                  <a:cubicBezTo>
                    <a:pt x="282" y="132"/>
                    <a:pt x="156" y="26"/>
                    <a:pt x="0" y="0"/>
                  </a:cubicBezTo>
                  <a:lnTo>
                    <a:pt x="0" y="118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alpha val="0"/>
                  </a:schemeClr>
                </a:gs>
                <a:gs pos="99583">
                  <a:schemeClr val="bg1">
                    <a:alpha val="0"/>
                  </a:schemeClr>
                </a:gs>
                <a:gs pos="50000">
                  <a:srgbClr val="AFEAFF"/>
                </a:gs>
              </a:gsLst>
              <a:lin ang="0" scaled="0"/>
            </a:gra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zh-CN" altLang="en-US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" name="组合 18"/>
          <p:cNvGrpSpPr>
            <a:grpSpLocks/>
          </p:cNvGrpSpPr>
          <p:nvPr/>
        </p:nvGrpSpPr>
        <p:grpSpPr bwMode="auto">
          <a:xfrm>
            <a:off x="3471863" y="2343150"/>
            <a:ext cx="631825" cy="2624138"/>
            <a:chOff x="3707897" y="1674161"/>
            <a:chExt cx="1629992" cy="4023110"/>
          </a:xfrm>
        </p:grpSpPr>
        <p:sp>
          <p:nvSpPr>
            <p:cNvPr id="20" name="Freeform 12"/>
            <p:cNvSpPr>
              <a:spLocks/>
            </p:cNvSpPr>
            <p:nvPr/>
          </p:nvSpPr>
          <p:spPr bwMode="auto">
            <a:xfrm flipH="1">
              <a:off x="3707897" y="1674161"/>
              <a:ext cx="1629992" cy="2066316"/>
            </a:xfrm>
            <a:custGeom>
              <a:avLst/>
              <a:gdLst>
                <a:gd name="T0" fmla="*/ 0 w 282"/>
                <a:gd name="T1" fmla="*/ 330 h 448"/>
                <a:gd name="T2" fmla="*/ 282 w 282"/>
                <a:gd name="T3" fmla="*/ 0 h 448"/>
                <a:gd name="T4" fmla="*/ 282 w 282"/>
                <a:gd name="T5" fmla="*/ 316 h 448"/>
                <a:gd name="T6" fmla="*/ 0 w 282"/>
                <a:gd name="T7" fmla="*/ 448 h 448"/>
                <a:gd name="T8" fmla="*/ 0 w 282"/>
                <a:gd name="T9" fmla="*/ 33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448">
                  <a:moveTo>
                    <a:pt x="0" y="330"/>
                  </a:moveTo>
                  <a:cubicBezTo>
                    <a:pt x="0" y="330"/>
                    <a:pt x="183" y="232"/>
                    <a:pt x="282" y="0"/>
                  </a:cubicBezTo>
                  <a:cubicBezTo>
                    <a:pt x="282" y="316"/>
                    <a:pt x="282" y="316"/>
                    <a:pt x="282" y="316"/>
                  </a:cubicBezTo>
                  <a:cubicBezTo>
                    <a:pt x="282" y="316"/>
                    <a:pt x="156" y="422"/>
                    <a:pt x="0" y="448"/>
                  </a:cubicBezTo>
                  <a:lnTo>
                    <a:pt x="0" y="33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alpha val="0"/>
                  </a:schemeClr>
                </a:gs>
                <a:gs pos="99583">
                  <a:schemeClr val="bg1">
                    <a:alpha val="0"/>
                  </a:schemeClr>
                </a:gs>
                <a:gs pos="50000">
                  <a:srgbClr val="AFEAFF"/>
                </a:gs>
              </a:gsLst>
              <a:lin ang="0" scaled="0"/>
            </a:gra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zh-CN" altLang="en-US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 flipH="1">
              <a:off x="3707897" y="3630955"/>
              <a:ext cx="1629992" cy="2066316"/>
            </a:xfrm>
            <a:custGeom>
              <a:avLst/>
              <a:gdLst>
                <a:gd name="T0" fmla="*/ 0 w 282"/>
                <a:gd name="T1" fmla="*/ 118 h 448"/>
                <a:gd name="T2" fmla="*/ 282 w 282"/>
                <a:gd name="T3" fmla="*/ 448 h 448"/>
                <a:gd name="T4" fmla="*/ 282 w 282"/>
                <a:gd name="T5" fmla="*/ 132 h 448"/>
                <a:gd name="T6" fmla="*/ 0 w 282"/>
                <a:gd name="T7" fmla="*/ 0 h 448"/>
                <a:gd name="T8" fmla="*/ 0 w 282"/>
                <a:gd name="T9" fmla="*/ 11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" h="448">
                  <a:moveTo>
                    <a:pt x="0" y="118"/>
                  </a:moveTo>
                  <a:cubicBezTo>
                    <a:pt x="0" y="118"/>
                    <a:pt x="183" y="216"/>
                    <a:pt x="282" y="448"/>
                  </a:cubicBezTo>
                  <a:cubicBezTo>
                    <a:pt x="282" y="132"/>
                    <a:pt x="282" y="132"/>
                    <a:pt x="282" y="132"/>
                  </a:cubicBezTo>
                  <a:cubicBezTo>
                    <a:pt x="282" y="132"/>
                    <a:pt x="156" y="26"/>
                    <a:pt x="0" y="0"/>
                  </a:cubicBezTo>
                  <a:lnTo>
                    <a:pt x="0" y="118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alpha val="0"/>
                  </a:schemeClr>
                </a:gs>
                <a:gs pos="99583">
                  <a:schemeClr val="bg1">
                    <a:alpha val="0"/>
                  </a:schemeClr>
                </a:gs>
                <a:gs pos="50000">
                  <a:srgbClr val="AFEAFF"/>
                </a:gs>
              </a:gsLst>
              <a:lin ang="0" scaled="0"/>
            </a:gradFill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zh-CN" altLang="en-US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pic>
        <p:nvPicPr>
          <p:cNvPr id="308230" name="Picture 20" descr="cloudcomputing1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48100" y="2206625"/>
            <a:ext cx="1539875" cy="233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" name="Picture 2" descr="C:\Documents and Settings\Administrator\桌面\cloud computing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79712" y="1864171"/>
            <a:ext cx="1564556" cy="1455459"/>
          </a:xfrm>
          <a:prstGeom prst="roundRect">
            <a:avLst/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7" name="Picture 5" descr="IMG_3798_nEO_IM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5757692" y="4027418"/>
            <a:ext cx="1622620" cy="1344168"/>
          </a:xfrm>
          <a:prstGeom prst="roundRect">
            <a:avLst/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2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79714" y="4225727"/>
            <a:ext cx="1660531" cy="1254145"/>
          </a:xfrm>
          <a:prstGeom prst="roundRect">
            <a:avLst/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23" name="Text Box 32"/>
          <p:cNvSpPr txBox="1">
            <a:spLocks noChangeArrowheads="1"/>
          </p:cNvSpPr>
          <p:nvPr/>
        </p:nvSpPr>
        <p:spPr bwMode="auto">
          <a:xfrm>
            <a:off x="539750" y="4340225"/>
            <a:ext cx="1695450" cy="1165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CC66">
                <a:gamma/>
                <a:shade val="60000"/>
                <a:invGamma/>
              </a:srgbClr>
            </a:prstShdw>
          </a:effectLst>
        </p:spPr>
        <p:txBody>
          <a:bodyPr lIns="91393" tIns="45696" rIns="91393" bIns="45696">
            <a:spAutoFit/>
          </a:bodyPr>
          <a:lstStyle/>
          <a:p>
            <a:pPr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rgbClr val="0099CC"/>
                </a:solidFill>
                <a:latin typeface="微软雅黑" pitchFamily="34" charset="-122"/>
                <a:ea typeface="微软雅黑" pitchFamily="34" charset="-122"/>
              </a:rPr>
              <a:t>技术视角</a:t>
            </a:r>
            <a:endParaRPr lang="en-US" altLang="zh-CN" sz="1600" kern="0" dirty="0">
              <a:solidFill>
                <a:srgbClr val="0099CC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分布式计算和</a:t>
            </a:r>
            <a:endParaRPr lang="en-US" altLang="zh-CN" sz="1600" kern="0" dirty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分布式存储</a:t>
            </a:r>
          </a:p>
        </p:txBody>
      </p:sp>
      <p:sp>
        <p:nvSpPr>
          <p:cNvPr id="24" name="Text Box 32"/>
          <p:cNvSpPr txBox="1">
            <a:spLocks noChangeArrowheads="1"/>
          </p:cNvSpPr>
          <p:nvPr/>
        </p:nvSpPr>
        <p:spPr bwMode="auto">
          <a:xfrm>
            <a:off x="7377113" y="2405063"/>
            <a:ext cx="1731962" cy="79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CC66">
                <a:gamma/>
                <a:shade val="60000"/>
                <a:invGamma/>
              </a:srgbClr>
            </a:prstShdw>
          </a:effectLst>
        </p:spPr>
        <p:txBody>
          <a:bodyPr lIns="91393" tIns="45696" rIns="91393" bIns="45696">
            <a:spAutoFit/>
          </a:bodyPr>
          <a:lstStyle/>
          <a:p>
            <a:pPr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rgbClr val="0099CC"/>
                </a:solidFill>
                <a:latin typeface="微软雅黑" pitchFamily="34" charset="-122"/>
                <a:ea typeface="微软雅黑" pitchFamily="34" charset="-122"/>
              </a:rPr>
              <a:t>应用视角</a:t>
            </a:r>
            <a:endParaRPr lang="en-US" altLang="zh-CN" sz="1600" kern="0" dirty="0">
              <a:solidFill>
                <a:srgbClr val="0099CC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行业应用</a:t>
            </a:r>
          </a:p>
        </p:txBody>
      </p:sp>
      <p:sp>
        <p:nvSpPr>
          <p:cNvPr id="25" name="Text Box 32"/>
          <p:cNvSpPr txBox="1">
            <a:spLocks noChangeArrowheads="1"/>
          </p:cNvSpPr>
          <p:nvPr/>
        </p:nvSpPr>
        <p:spPr bwMode="auto">
          <a:xfrm>
            <a:off x="7485063" y="4398963"/>
            <a:ext cx="1695450" cy="113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FFCC66">
                <a:gamma/>
                <a:shade val="60000"/>
                <a:invGamma/>
              </a:srgbClr>
            </a:prstShdw>
          </a:effectLst>
        </p:spPr>
        <p:txBody>
          <a:bodyPr lIns="91393" tIns="45696" rIns="91393" bIns="45696">
            <a:spAutoFit/>
          </a:bodyPr>
          <a:lstStyle/>
          <a:p>
            <a:pPr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rgbClr val="0099CC"/>
                </a:solidFill>
                <a:latin typeface="微软雅黑" pitchFamily="34" charset="-122"/>
                <a:ea typeface="微软雅黑" pitchFamily="34" charset="-122"/>
              </a:rPr>
              <a:t>产品方案</a:t>
            </a:r>
            <a:endParaRPr lang="en-US" altLang="zh-CN" sz="1600" kern="0" dirty="0">
              <a:solidFill>
                <a:srgbClr val="0099CC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云</a:t>
            </a:r>
            <a:r>
              <a:rPr lang="zh-CN" altLang="en-US" sz="16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平台</a:t>
            </a:r>
            <a:endParaRPr lang="en-US" altLang="zh-CN" sz="1600" kern="0" dirty="0" smtClean="0">
              <a:solidFill>
                <a:sysClr val="windowText" lastClr="00000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kern="0" dirty="0" smtClean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数据</a:t>
            </a:r>
            <a:r>
              <a:rPr lang="zh-CN" altLang="en-US" sz="1600" kern="0" dirty="0">
                <a:solidFill>
                  <a:sysClr val="windowText" lastClr="000000"/>
                </a:solidFill>
                <a:latin typeface="微软雅黑" pitchFamily="34" charset="-122"/>
                <a:ea typeface="微软雅黑" pitchFamily="34" charset="-122"/>
              </a:rPr>
              <a:t>中心</a:t>
            </a:r>
          </a:p>
        </p:txBody>
      </p:sp>
      <p:grpSp>
        <p:nvGrpSpPr>
          <p:cNvPr id="4" name="组合 27"/>
          <p:cNvGrpSpPr>
            <a:grpSpLocks/>
          </p:cNvGrpSpPr>
          <p:nvPr/>
        </p:nvGrpSpPr>
        <p:grpSpPr bwMode="auto">
          <a:xfrm>
            <a:off x="5661165" y="1863725"/>
            <a:ext cx="1633378" cy="1343025"/>
            <a:chOff x="7565831" y="2117557"/>
            <a:chExt cx="1899014" cy="1343443"/>
          </a:xfrm>
        </p:grpSpPr>
        <p:pic>
          <p:nvPicPr>
            <p:cNvPr id="89" name="Picture 2" descr="D:\图标&amp;模板\Pic\图库\机械\创意商务 (1380)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 rot="10800000">
              <a:off x="7698976" y="2117557"/>
              <a:ext cx="1765869" cy="1343443"/>
            </a:xfrm>
            <a:prstGeom prst="roundRect">
              <a:avLst/>
            </a:prstGeom>
            <a:ln w="88900" cap="sq">
              <a:solidFill>
                <a:srgbClr val="FFFFFF"/>
              </a:solidFill>
              <a:miter lim="800000"/>
            </a:ln>
            <a:effectLst>
              <a:outerShdw blurRad="254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98" name="TextBox 97"/>
            <p:cNvSpPr txBox="1"/>
            <p:nvPr/>
          </p:nvSpPr>
          <p:spPr>
            <a:xfrm>
              <a:off x="7565831" y="2509792"/>
              <a:ext cx="1059267" cy="408750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kern="0" dirty="0" smtClean="0">
                  <a:solidFill>
                    <a:srgbClr val="969696">
                      <a:lumMod val="75000"/>
                    </a:srgbClr>
                  </a:solidFill>
                  <a:latin typeface="微软雅黑" pitchFamily="34" charset="-122"/>
                  <a:ea typeface="微软雅黑" pitchFamily="34" charset="-122"/>
                </a:rPr>
                <a:t>阿里云</a:t>
              </a:r>
              <a:endParaRPr lang="en-US" kern="0" dirty="0">
                <a:solidFill>
                  <a:srgbClr val="96969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8126765" y="3019538"/>
              <a:ext cx="1296797" cy="408750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kern="0" dirty="0" smtClean="0">
                  <a:solidFill>
                    <a:srgbClr val="969696">
                      <a:lumMod val="75000"/>
                    </a:srgbClr>
                  </a:solidFill>
                  <a:latin typeface="微软雅黑" pitchFamily="34" charset="-122"/>
                  <a:ea typeface="微软雅黑" pitchFamily="34" charset="-122"/>
                </a:rPr>
                <a:t>   电信云</a:t>
              </a:r>
              <a:endParaRPr lang="en-US" kern="0" dirty="0">
                <a:solidFill>
                  <a:srgbClr val="96969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8392502" y="2120733"/>
              <a:ext cx="795047" cy="408750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kern="0" dirty="0" smtClean="0">
                  <a:solidFill>
                    <a:srgbClr val="969696">
                      <a:lumMod val="75000"/>
                    </a:srgbClr>
                  </a:solidFill>
                  <a:latin typeface="微软雅黑" pitchFamily="34" charset="-122"/>
                  <a:ea typeface="微软雅黑" pitchFamily="34" charset="-122"/>
                </a:rPr>
                <a:t>青云</a:t>
              </a:r>
              <a:endParaRPr lang="en-US" kern="0" dirty="0">
                <a:solidFill>
                  <a:srgbClr val="969696">
                    <a:lumMod val="75000"/>
                  </a:srgbClr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665670" y="2538376"/>
              <a:ext cx="694861" cy="408750"/>
            </a:xfrm>
            <a:prstGeom prst="roundRect">
              <a:avLst/>
            </a:prstGeom>
            <a:noFill/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kern="0" dirty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……</a:t>
              </a:r>
            </a:p>
          </p:txBody>
        </p:sp>
      </p:grpSp>
      <p:sp>
        <p:nvSpPr>
          <p:cNvPr id="308238" name="日期占位符 1"/>
          <p:cNvSpPr txBox="1">
            <a:spLocks noGrp="1"/>
          </p:cNvSpPr>
          <p:nvPr/>
        </p:nvSpPr>
        <p:spPr bwMode="auto">
          <a:xfrm>
            <a:off x="6361113" y="6489700"/>
            <a:ext cx="2097087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798513" eaLnBrk="0" hangingPunct="0">
              <a:lnSpc>
                <a:spcPct val="85000"/>
              </a:lnSpc>
            </a:pPr>
            <a:r>
              <a:rPr lang="de-DE" altLang="zh-CN" sz="12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t>Page </a:t>
            </a:r>
            <a:fld id="{33E11DE5-B892-483F-BC10-1041C7109D1F}" type="slidenum">
              <a:rPr lang="de-DE" altLang="zh-CN" sz="120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</a:rPr>
              <a:pPr defTabSz="798513" eaLnBrk="0" hangingPunct="0">
                <a:lnSpc>
                  <a:spcPct val="85000"/>
                </a:lnSpc>
              </a:pPr>
              <a:t>3</a:t>
            </a:fld>
            <a:endParaRPr lang="en-GB" altLang="zh-CN" sz="12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云形 28"/>
          <p:cNvSpPr/>
          <p:nvPr/>
        </p:nvSpPr>
        <p:spPr>
          <a:xfrm>
            <a:off x="1643063" y="5511800"/>
            <a:ext cx="6429375" cy="703263"/>
          </a:xfrm>
          <a:prstGeom prst="cloud">
            <a:avLst/>
          </a:prstGeom>
          <a:gradFill flip="none" rotWithShape="1">
            <a:gsLst>
              <a:gs pos="0">
                <a:srgbClr val="0070C0">
                  <a:tint val="66000"/>
                  <a:satMod val="160000"/>
                </a:srgbClr>
              </a:gs>
              <a:gs pos="50000">
                <a:srgbClr val="0070C0">
                  <a:tint val="44500"/>
                  <a:satMod val="160000"/>
                </a:srgbClr>
              </a:gs>
              <a:gs pos="100000">
                <a:srgbClr val="0070C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solidFill>
              <a:srgbClr val="0070C0"/>
            </a:solidFill>
          </a:ln>
        </p:spPr>
        <p:txBody>
          <a:bodyPr lIns="91299" tIns="45649" rIns="91299" bIns="45649">
            <a:spAutoFit/>
          </a:bodyPr>
          <a:lstStyle/>
          <a:p>
            <a:pPr algn="ctr">
              <a:defRPr/>
            </a:pPr>
            <a:r>
              <a:rPr lang="zh-CN" altLang="en-US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云计算 </a:t>
            </a:r>
            <a:r>
              <a:rPr lang="en-US" altLang="zh-CN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= </a:t>
            </a:r>
            <a:r>
              <a:rPr lang="zh-CN" altLang="en-US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云平台 </a:t>
            </a:r>
            <a:r>
              <a:rPr lang="en-US" altLang="zh-CN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+ </a:t>
            </a:r>
            <a:r>
              <a:rPr lang="zh-CN" altLang="en-US" sz="2400" b="1" dirty="0"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云应用</a:t>
            </a:r>
          </a:p>
        </p:txBody>
      </p:sp>
      <p:sp>
        <p:nvSpPr>
          <p:cNvPr id="28" name="标题 1"/>
          <p:cNvSpPr txBox="1">
            <a:spLocks/>
          </p:cNvSpPr>
          <p:nvPr/>
        </p:nvSpPr>
        <p:spPr>
          <a:xfrm>
            <a:off x="-32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marR="0" lvl="0" indent="-9144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IT</a:t>
            </a: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基础设施虚拟化和云计算的理想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</p:spTree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标题 1"/>
          <p:cNvSpPr txBox="1">
            <a:spLocks/>
          </p:cNvSpPr>
          <p:nvPr/>
        </p:nvSpPr>
        <p:spPr>
          <a:xfrm>
            <a:off x="12668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marR="0" lvl="0" indent="-9144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传统</a:t>
            </a:r>
            <a:r>
              <a:rPr lang="en-US" altLang="zh-CN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IT</a:t>
            </a: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与虚拟化</a:t>
            </a:r>
            <a:r>
              <a:rPr lang="en-US" altLang="zh-CN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/</a:t>
            </a: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云计算模式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  <p:sp>
        <p:nvSpPr>
          <p:cNvPr id="33" name="内容占位符 2"/>
          <p:cNvSpPr txBox="1">
            <a:spLocks/>
          </p:cNvSpPr>
          <p:nvPr/>
        </p:nvSpPr>
        <p:spPr>
          <a:xfrm>
            <a:off x="304800" y="1524000"/>
            <a:ext cx="3317875" cy="3252788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烟囱式的系统建设，</a:t>
            </a:r>
            <a:r>
              <a:rPr kumimoji="0" lang="en-US" altLang="zh-CN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IT</a:t>
            </a: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成本居高不下（硬件</a:t>
            </a:r>
            <a:r>
              <a:rPr kumimoji="0" lang="en-US" altLang="zh-CN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/</a:t>
            </a: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能耗</a:t>
            </a:r>
            <a:r>
              <a:rPr kumimoji="0" lang="en-US" altLang="zh-CN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/</a:t>
            </a: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管理）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按峰值规模建设，资源平均利用率低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缺乏弹性的系统设计，应对业务突发情况差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建设周期漫长，无法快速提供与部署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zh-CN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仿宋_GB2312"/>
                <a:sym typeface="Calibri" pitchFamily="34" charset="0"/>
              </a:rPr>
              <a:t>业务需求的快速增长，设备更替快，不利投资保护</a:t>
            </a:r>
            <a:endParaRPr kumimoji="0" lang="en-US" altLang="zh-CN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zh-CN" alt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仿宋_GB2312"/>
              <a:sym typeface="Calibri" pitchFamily="34" charset="0"/>
            </a:endParaRPr>
          </a:p>
        </p:txBody>
      </p:sp>
      <p:sp>
        <p:nvSpPr>
          <p:cNvPr id="34" name="椭圆​​ 4"/>
          <p:cNvSpPr/>
          <p:nvPr/>
        </p:nvSpPr>
        <p:spPr bwMode="auto">
          <a:xfrm>
            <a:off x="3849688" y="1587500"/>
            <a:ext cx="2286000" cy="379413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2075" tIns="46038" rIns="92075" bIns="46038" anchor="ctr"/>
          <a:lstStyle/>
          <a:p>
            <a:pPr marL="119063" indent="-119063" algn="ctr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集中资源池的共享</a:t>
            </a:r>
          </a:p>
        </p:txBody>
      </p:sp>
      <p:sp>
        <p:nvSpPr>
          <p:cNvPr id="35" name="椭圆​​ 5"/>
          <p:cNvSpPr/>
          <p:nvPr/>
        </p:nvSpPr>
        <p:spPr bwMode="auto">
          <a:xfrm>
            <a:off x="3849688" y="2251075"/>
            <a:ext cx="2286000" cy="377825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2075" tIns="46038" rIns="92075" bIns="46038" anchor="ctr"/>
          <a:lstStyle/>
          <a:p>
            <a:pPr marL="119063" indent="-119063" algn="ctr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虚拟化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、分时交付</a:t>
            </a:r>
            <a:endParaRPr lang="zh-CN" altLang="en-US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椭圆​​ 6"/>
          <p:cNvSpPr/>
          <p:nvPr/>
        </p:nvSpPr>
        <p:spPr bwMode="auto">
          <a:xfrm>
            <a:off x="3849688" y="2932113"/>
            <a:ext cx="2286000" cy="37941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2075" tIns="46038" rIns="92075" bIns="46038" anchor="ctr"/>
          <a:lstStyle/>
          <a:p>
            <a:pPr marL="119063" indent="-119063" algn="ctr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动态调配、弹性伸缩</a:t>
            </a:r>
          </a:p>
        </p:txBody>
      </p:sp>
      <p:sp>
        <p:nvSpPr>
          <p:cNvPr id="37" name="椭圆​​ 7"/>
          <p:cNvSpPr/>
          <p:nvPr/>
        </p:nvSpPr>
        <p:spPr bwMode="auto">
          <a:xfrm>
            <a:off x="3849688" y="3673475"/>
            <a:ext cx="2286000" cy="379413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2075" tIns="46038" rIns="92075" bIns="46038" anchor="ctr"/>
          <a:lstStyle/>
          <a:p>
            <a:pPr marL="119063" indent="-119063" algn="ctr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自动化、自服务</a:t>
            </a:r>
          </a:p>
        </p:txBody>
      </p:sp>
      <p:sp>
        <p:nvSpPr>
          <p:cNvPr id="38" name="椭圆​​ 8"/>
          <p:cNvSpPr/>
          <p:nvPr/>
        </p:nvSpPr>
        <p:spPr bwMode="auto">
          <a:xfrm>
            <a:off x="3849688" y="4365625"/>
            <a:ext cx="2286000" cy="379413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2075" tIns="46038" rIns="92075" bIns="46038" anchor="ctr"/>
          <a:lstStyle/>
          <a:p>
            <a:pPr marL="119063" indent="-119063" algn="ctr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zh-CN" altLang="en-US" sz="1200" dirty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rPr>
              <a:t>低成本、标准化硬件</a:t>
            </a:r>
          </a:p>
        </p:txBody>
      </p:sp>
      <p:sp>
        <p:nvSpPr>
          <p:cNvPr id="39" name="TextBox 9"/>
          <p:cNvSpPr txBox="1">
            <a:spLocks noChangeArrowheads="1"/>
          </p:cNvSpPr>
          <p:nvPr/>
        </p:nvSpPr>
        <p:spPr bwMode="auto">
          <a:xfrm>
            <a:off x="3419872" y="995363"/>
            <a:ext cx="3492400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zh-CN" altLang="en-US" sz="28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虚拟化</a:t>
            </a:r>
            <a:r>
              <a:rPr lang="en-US" altLang="zh-CN" sz="28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/</a:t>
            </a:r>
            <a:r>
              <a:rPr lang="zh-CN" altLang="en-US" sz="28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云计算模式</a:t>
            </a:r>
            <a:endParaRPr lang="zh-CN" altLang="en-US" sz="2800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  <a:cs typeface="仿宋_GB2312"/>
            </a:endParaRPr>
          </a:p>
        </p:txBody>
      </p:sp>
      <p:sp>
        <p:nvSpPr>
          <p:cNvPr id="40" name="等腰三角形​​ 10"/>
          <p:cNvSpPr/>
          <p:nvPr/>
        </p:nvSpPr>
        <p:spPr bwMode="auto">
          <a:xfrm rot="5400000">
            <a:off x="4911726" y="3022600"/>
            <a:ext cx="2779712" cy="287337"/>
          </a:xfrm>
          <a:prstGeom prst="triangle">
            <a:avLst>
              <a:gd name="adj" fmla="val 50383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2075" tIns="46038" rIns="92075" bIns="46038" anchor="ctr"/>
          <a:lstStyle/>
          <a:p>
            <a:pPr marL="119063" indent="-119063" algn="ctr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endParaRPr lang="zh-CN" altLang="en-US" sz="12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1" name="图片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45250" y="2266950"/>
            <a:ext cx="2319338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Box 67"/>
          <p:cNvSpPr txBox="1">
            <a:spLocks noChangeArrowheads="1"/>
          </p:cNvSpPr>
          <p:nvPr/>
        </p:nvSpPr>
        <p:spPr bwMode="auto">
          <a:xfrm>
            <a:off x="6705600" y="3641725"/>
            <a:ext cx="191452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  <a:cs typeface="仿宋_GB2312"/>
              </a:rPr>
              <a:t>下一代云数据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  <a:cs typeface="仿宋_GB2312"/>
              </a:rPr>
              <a:t>中心</a:t>
            </a:r>
          </a:p>
        </p:txBody>
      </p:sp>
      <p:sp>
        <p:nvSpPr>
          <p:cNvPr id="45" name="TextBox 68"/>
          <p:cNvSpPr txBox="1">
            <a:spLocks noChangeArrowheads="1"/>
          </p:cNvSpPr>
          <p:nvPr/>
        </p:nvSpPr>
        <p:spPr bwMode="auto">
          <a:xfrm>
            <a:off x="6557963" y="4038600"/>
            <a:ext cx="2662237" cy="1421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eaLnBrk="0" hangingPunct="0">
              <a:lnSpc>
                <a:spcPct val="90000"/>
              </a:lnSpc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资源虚拟化</a:t>
            </a:r>
            <a:endParaRPr lang="en-US" altLang="zh-CN" sz="2400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  <a:cs typeface="仿宋_GB2312"/>
            </a:endParaRPr>
          </a:p>
          <a:p>
            <a:pPr marL="342900" indent="-342900" eaLnBrk="0" hangingPunct="0">
              <a:lnSpc>
                <a:spcPct val="90000"/>
              </a:lnSpc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交付快速化</a:t>
            </a:r>
            <a:endParaRPr lang="en-US" altLang="zh-CN" sz="2400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  <a:cs typeface="仿宋_GB2312"/>
            </a:endParaRPr>
          </a:p>
          <a:p>
            <a:pPr marL="342900" indent="-342900" eaLnBrk="0" hangingPunct="0">
              <a:lnSpc>
                <a:spcPct val="90000"/>
              </a:lnSpc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管理自动化</a:t>
            </a:r>
            <a:endParaRPr lang="en-US" altLang="zh-CN" sz="2400" dirty="0" smtClean="0">
              <a:solidFill>
                <a:schemeClr val="accent1"/>
              </a:solidFill>
              <a:latin typeface="微软雅黑" pitchFamily="34" charset="-122"/>
              <a:ea typeface="微软雅黑" pitchFamily="34" charset="-122"/>
              <a:cs typeface="仿宋_GB2312"/>
            </a:endParaRPr>
          </a:p>
          <a:p>
            <a:pPr marL="342900" indent="-342900" eaLnBrk="0" hangingPunct="0">
              <a:lnSpc>
                <a:spcPct val="90000"/>
              </a:lnSpc>
              <a:buFont typeface="Arial" pitchFamily="34" charset="0"/>
              <a:buChar char="•"/>
            </a:pPr>
            <a:r>
              <a:rPr lang="zh-CN" altLang="en-US" sz="24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服务可视化</a:t>
            </a:r>
            <a:endParaRPr lang="en-US" altLang="zh-CN" sz="2400" dirty="0" smtClean="0">
              <a:solidFill>
                <a:schemeClr val="accent1"/>
              </a:solidFill>
              <a:latin typeface="微软雅黑" pitchFamily="34" charset="-122"/>
              <a:ea typeface="微软雅黑" pitchFamily="34" charset="-122"/>
              <a:cs typeface="仿宋_GB2312"/>
            </a:endParaRPr>
          </a:p>
        </p:txBody>
      </p:sp>
      <p:pic>
        <p:nvPicPr>
          <p:cNvPr id="46" name="Content Placeholder 5" descr="cloud a.gif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7325" y="4838700"/>
            <a:ext cx="3273425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Content Placeholder 4" descr="cloud b.gif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36950" y="4838700"/>
            <a:ext cx="309245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Box 14"/>
          <p:cNvSpPr txBox="1">
            <a:spLocks noChangeArrowheads="1"/>
          </p:cNvSpPr>
          <p:nvPr/>
        </p:nvSpPr>
        <p:spPr bwMode="auto">
          <a:xfrm>
            <a:off x="949325" y="990600"/>
            <a:ext cx="2063750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zh-CN" altLang="en-US" sz="28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传统</a:t>
            </a:r>
            <a:r>
              <a:rPr lang="en-US" altLang="zh-CN" sz="28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IT</a:t>
            </a:r>
            <a:r>
              <a:rPr lang="zh-CN" altLang="en-US" sz="2800" dirty="0" smtClean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  <a:cs typeface="仿宋_GB2312"/>
              </a:rPr>
              <a:t>模式</a:t>
            </a:r>
            <a:endParaRPr lang="zh-CN" altLang="en-US" sz="2800" dirty="0">
              <a:solidFill>
                <a:schemeClr val="accent1"/>
              </a:solidFill>
              <a:latin typeface="微软雅黑" pitchFamily="34" charset="-122"/>
              <a:ea typeface="微软雅黑" pitchFamily="34" charset="-122"/>
              <a:cs typeface="仿宋_GB2312"/>
            </a:endParaRPr>
          </a:p>
        </p:txBody>
      </p:sp>
    </p:spTree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Group 88"/>
          <p:cNvGraphicFramePr>
            <a:graphicFrameLocks noGrp="1"/>
          </p:cNvGraphicFramePr>
          <p:nvPr/>
        </p:nvGraphicFramePr>
        <p:xfrm>
          <a:off x="446114" y="1889125"/>
          <a:ext cx="2954338" cy="3844131"/>
        </p:xfrm>
        <a:graphic>
          <a:graphicData uri="http://schemas.openxmlformats.org/drawingml/2006/table">
            <a:tbl>
              <a:tblPr/>
              <a:tblGrid>
                <a:gridCol w="1660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38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服务器</a:t>
                      </a:r>
                      <a:r>
                        <a:rPr kumimoji="0" lang="en-GB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/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存储     使用率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GB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5-15%</a:t>
                      </a: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自服务门户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无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895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测试环境提供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数周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变更管理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数天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发布管理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数周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计费模式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固定</a:t>
                      </a:r>
                      <a:endParaRPr kumimoji="0" lang="en-US" altLang="zh-CN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成本模型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88181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新服务投资回报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70% 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无价值的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T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运维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8" name="Group 86"/>
          <p:cNvGraphicFramePr>
            <a:graphicFrameLocks noGrp="1"/>
          </p:cNvGraphicFramePr>
          <p:nvPr/>
        </p:nvGraphicFramePr>
        <p:xfrm>
          <a:off x="7059639" y="1889125"/>
          <a:ext cx="1616817" cy="4166616"/>
        </p:xfrm>
        <a:graphic>
          <a:graphicData uri="http://schemas.openxmlformats.org/drawingml/2006/table">
            <a:tbl>
              <a:tblPr/>
              <a:tblGrid>
                <a:gridCol w="1616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GB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60-80%</a:t>
                      </a:r>
                    </a:p>
                    <a:p>
                      <a:pPr marL="0" marR="0" lvl="0" indent="0" algn="l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（服务器整合比      </a:t>
                      </a:r>
                      <a:endParaRPr kumimoji="0" lang="en-US" altLang="zh-CN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   8-10:1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）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提供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数分钟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数秒钟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  <a:defRPr/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数分钟</a:t>
                      </a:r>
                      <a:endParaRPr kumimoji="0" lang="en-GB" altLang="zh-CN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340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阶梯计价</a:t>
                      </a:r>
                      <a:endParaRPr kumimoji="0" lang="en-US" altLang="zh-CN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ctr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按需收费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8013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降低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40%-60%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运营成本</a:t>
                      </a:r>
                      <a:endParaRPr kumimoji="0" lang="en-US" altLang="zh-CN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449263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tabLst>
                          <a:tab pos="0" algn="l"/>
                          <a:tab pos="914400" algn="l"/>
                          <a:tab pos="1828800" algn="l"/>
                          <a:tab pos="2743200" algn="l"/>
                          <a:tab pos="3657600" algn="l"/>
                          <a:tab pos="4572000" algn="l"/>
                          <a:tab pos="5486400" algn="l"/>
                          <a:tab pos="6400800" algn="l"/>
                          <a:tab pos="7315200" algn="l"/>
                          <a:tab pos="8229600" algn="l"/>
                          <a:tab pos="9144000" algn="l"/>
                          <a:tab pos="10058400" algn="l"/>
                        </a:tabLst>
                      </a:pP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降低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30%-50%</a:t>
                      </a:r>
                      <a:r>
                        <a:rPr kumimoji="0" lang="zh-CN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  <a:r>
                        <a:rPr kumimoji="0" lang="en-US" altLang="zh-CN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CO</a:t>
                      </a:r>
                      <a:endParaRPr kumimoji="0" lang="en-GB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0" marT="0" marB="0" anchor="ctr" horzOverflow="overflow">
                    <a:lnL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0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39" name="Group 47"/>
          <p:cNvGrpSpPr>
            <a:grpSpLocks/>
          </p:cNvGrpSpPr>
          <p:nvPr/>
        </p:nvGrpSpPr>
        <p:grpSpPr bwMode="auto">
          <a:xfrm>
            <a:off x="3630639" y="1889125"/>
            <a:ext cx="3198813" cy="3656013"/>
            <a:chOff x="2352" y="1190"/>
            <a:chExt cx="2015" cy="2303"/>
          </a:xfrm>
        </p:grpSpPr>
        <p:sp>
          <p:nvSpPr>
            <p:cNvPr id="40" name="AutoShape 48"/>
            <p:cNvSpPr>
              <a:spLocks noChangeArrowheads="1"/>
            </p:cNvSpPr>
            <p:nvPr/>
          </p:nvSpPr>
          <p:spPr bwMode="auto">
            <a:xfrm flipH="1">
              <a:off x="2352" y="1190"/>
              <a:ext cx="2016" cy="2304"/>
            </a:xfrm>
            <a:prstGeom prst="rtTriangle">
              <a:avLst/>
            </a:prstGeom>
            <a:gradFill rotWithShape="0">
              <a:gsLst>
                <a:gs pos="0">
                  <a:srgbClr val="003399">
                    <a:alpha val="84999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</a:gradFill>
            <a:ln w="12600">
              <a:solidFill>
                <a:srgbClr val="808080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41" name="AutoShape 49"/>
            <p:cNvSpPr>
              <a:spLocks noChangeArrowheads="1"/>
            </p:cNvSpPr>
            <p:nvPr/>
          </p:nvSpPr>
          <p:spPr bwMode="auto">
            <a:xfrm rot="10800000" flipH="1">
              <a:off x="2352" y="1191"/>
              <a:ext cx="2016" cy="2304"/>
            </a:xfrm>
            <a:prstGeom prst="rtTriangle">
              <a:avLst/>
            </a:prstGeom>
            <a:noFill/>
            <a:ln w="12600">
              <a:solidFill>
                <a:srgbClr val="808080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42" name="Line 51"/>
          <p:cNvSpPr>
            <a:spLocks noChangeShapeType="1"/>
          </p:cNvSpPr>
          <p:nvPr/>
        </p:nvSpPr>
        <p:spPr bwMode="auto">
          <a:xfrm>
            <a:off x="3630639" y="5699125"/>
            <a:ext cx="3200400" cy="1588"/>
          </a:xfrm>
          <a:prstGeom prst="line">
            <a:avLst/>
          </a:prstGeom>
          <a:noFill/>
          <a:ln w="12600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zh-CN" altLang="en-US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Text Box 53"/>
          <p:cNvSpPr txBox="1">
            <a:spLocks noChangeArrowheads="1"/>
          </p:cNvSpPr>
          <p:nvPr/>
        </p:nvSpPr>
        <p:spPr bwMode="auto">
          <a:xfrm>
            <a:off x="506439" y="1568302"/>
            <a:ext cx="1524000" cy="217624"/>
          </a:xfrm>
          <a:prstGeom prst="rect">
            <a:avLst/>
          </a:prstGeom>
          <a:solidFill>
            <a:srgbClr val="3C6AB4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49263">
              <a:lnSpc>
                <a:spcPct val="101000"/>
              </a:lnSpc>
              <a:spcBef>
                <a:spcPts val="875"/>
              </a:spcBef>
              <a:buClr>
                <a:srgbClr val="2DB6B3"/>
              </a:buClr>
              <a:buSzPct val="100000"/>
              <a:buFont typeface="Wingdings" pitchFamily="2" charset="2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zh-CN" altLang="en-US" sz="1400" b="1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评测指标</a:t>
            </a:r>
            <a:endParaRPr lang="en-GB" sz="14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4" name="Text Box 54"/>
          <p:cNvSpPr txBox="1">
            <a:spLocks noChangeArrowheads="1"/>
          </p:cNvSpPr>
          <p:nvPr/>
        </p:nvSpPr>
        <p:spPr bwMode="auto">
          <a:xfrm>
            <a:off x="2182839" y="1568302"/>
            <a:ext cx="1143000" cy="217624"/>
          </a:xfrm>
          <a:prstGeom prst="rect">
            <a:avLst/>
          </a:prstGeom>
          <a:solidFill>
            <a:srgbClr val="3C6AB4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49263">
              <a:lnSpc>
                <a:spcPct val="101000"/>
              </a:lnSpc>
              <a:spcBef>
                <a:spcPts val="875"/>
              </a:spcBef>
              <a:buClr>
                <a:srgbClr val="2DB6B3"/>
              </a:buClr>
              <a:buSzPct val="100000"/>
              <a:buFont typeface="Wingdings" pitchFamily="2" charset="2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zh-CN" altLang="en-US" sz="1400" b="1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传统</a:t>
            </a:r>
            <a:r>
              <a:rPr lang="en-US" altLang="zh-CN" sz="1400" b="1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IT</a:t>
            </a:r>
            <a:endParaRPr lang="en-GB" sz="14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5" name="Text Box 55"/>
          <p:cNvSpPr txBox="1">
            <a:spLocks noChangeArrowheads="1"/>
          </p:cNvSpPr>
          <p:nvPr/>
        </p:nvSpPr>
        <p:spPr bwMode="auto">
          <a:xfrm>
            <a:off x="7135839" y="1568302"/>
            <a:ext cx="1219200" cy="217624"/>
          </a:xfrm>
          <a:prstGeom prst="rect">
            <a:avLst/>
          </a:prstGeom>
          <a:solidFill>
            <a:srgbClr val="3C6AB4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49263">
              <a:lnSpc>
                <a:spcPct val="101000"/>
              </a:lnSpc>
              <a:spcBef>
                <a:spcPts val="875"/>
              </a:spcBef>
              <a:buClr>
                <a:srgbClr val="2DB6B3"/>
              </a:buClr>
              <a:buSzPct val="100000"/>
              <a:buFont typeface="Wingdings" pitchFamily="2" charset="2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zh-CN" altLang="en-US" sz="1400" b="1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虚拟化</a:t>
            </a:r>
            <a:r>
              <a:rPr lang="en-US" altLang="zh-CN" sz="1400" b="1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/</a:t>
            </a:r>
            <a:r>
              <a:rPr lang="zh-CN" altLang="en-US" sz="1400" b="1" dirty="0" smtClean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云计算</a:t>
            </a:r>
            <a:endParaRPr lang="en-GB" sz="1400" b="1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6" name="Freeform 56"/>
          <p:cNvSpPr>
            <a:spLocks noChangeArrowheads="1"/>
          </p:cNvSpPr>
          <p:nvPr/>
        </p:nvSpPr>
        <p:spPr bwMode="auto">
          <a:xfrm>
            <a:off x="5197502" y="4121150"/>
            <a:ext cx="1223962" cy="631825"/>
          </a:xfrm>
          <a:custGeom>
            <a:avLst/>
            <a:gdLst/>
            <a:ahLst/>
            <a:cxnLst>
              <a:cxn ang="0">
                <a:pos x="80" y="196"/>
              </a:cxn>
              <a:cxn ang="0">
                <a:pos x="0" y="277"/>
              </a:cxn>
              <a:cxn ang="0">
                <a:pos x="44" y="346"/>
              </a:cxn>
              <a:cxn ang="0">
                <a:pos x="43" y="346"/>
              </a:cxn>
              <a:cxn ang="0">
                <a:pos x="19" y="401"/>
              </a:cxn>
              <a:cxn ang="0">
                <a:pos x="108" y="481"/>
              </a:cxn>
              <a:cxn ang="0">
                <a:pos x="119" y="481"/>
              </a:cxn>
              <a:cxn ang="0">
                <a:pos x="118" y="481"/>
              </a:cxn>
              <a:cxn ang="0">
                <a:pos x="255" y="553"/>
              </a:cxn>
              <a:cxn ang="0">
                <a:pos x="336" y="533"/>
              </a:cxn>
              <a:cxn ang="0">
                <a:pos x="336" y="533"/>
              </a:cxn>
              <a:cxn ang="0">
                <a:pos x="451" y="589"/>
              </a:cxn>
              <a:cxn ang="0">
                <a:pos x="583" y="500"/>
              </a:cxn>
              <a:cxn ang="0">
                <a:pos x="583" y="500"/>
              </a:cxn>
              <a:cxn ang="0">
                <a:pos x="645" y="517"/>
              </a:cxn>
              <a:cxn ang="0">
                <a:pos x="764" y="410"/>
              </a:cxn>
              <a:cxn ang="0">
                <a:pos x="763" y="410"/>
              </a:cxn>
              <a:cxn ang="0">
                <a:pos x="882" y="286"/>
              </a:cxn>
              <a:cxn ang="0">
                <a:pos x="853" y="209"/>
              </a:cxn>
              <a:cxn ang="0">
                <a:pos x="853" y="209"/>
              </a:cxn>
              <a:cxn ang="0">
                <a:pos x="862" y="170"/>
              </a:cxn>
              <a:cxn ang="0">
                <a:pos x="782" y="75"/>
              </a:cxn>
              <a:cxn ang="0">
                <a:pos x="782" y="74"/>
              </a:cxn>
              <a:cxn ang="0">
                <a:pos x="684" y="0"/>
              </a:cxn>
              <a:cxn ang="0">
                <a:pos x="609" y="32"/>
              </a:cxn>
              <a:cxn ang="0">
                <a:pos x="609" y="32"/>
              </a:cxn>
              <a:cxn ang="0">
                <a:pos x="538" y="0"/>
              </a:cxn>
              <a:cxn ang="0">
                <a:pos x="458" y="45"/>
              </a:cxn>
              <a:cxn ang="0">
                <a:pos x="459" y="47"/>
              </a:cxn>
              <a:cxn ang="0">
                <a:pos x="382" y="18"/>
              </a:cxn>
              <a:cxn ang="0">
                <a:pos x="286" y="71"/>
              </a:cxn>
              <a:cxn ang="0">
                <a:pos x="286" y="71"/>
              </a:cxn>
              <a:cxn ang="0">
                <a:pos x="216" y="54"/>
              </a:cxn>
              <a:cxn ang="0">
                <a:pos x="78" y="179"/>
              </a:cxn>
              <a:cxn ang="0">
                <a:pos x="79" y="196"/>
              </a:cxn>
              <a:cxn ang="0">
                <a:pos x="80" y="196"/>
              </a:cxn>
            </a:cxnLst>
            <a:rect l="0" t="0" r="r" b="b"/>
            <a:pathLst>
              <a:path w="882" h="589">
                <a:moveTo>
                  <a:pt x="80" y="196"/>
                </a:moveTo>
                <a:cubicBezTo>
                  <a:pt x="34" y="200"/>
                  <a:pt x="0" y="235"/>
                  <a:pt x="0" y="277"/>
                </a:cubicBezTo>
                <a:cubicBezTo>
                  <a:pt x="0" y="305"/>
                  <a:pt x="17" y="332"/>
                  <a:pt x="44" y="346"/>
                </a:cubicBezTo>
                <a:cubicBezTo>
                  <a:pt x="43" y="346"/>
                  <a:pt x="43" y="346"/>
                  <a:pt x="43" y="346"/>
                </a:cubicBezTo>
                <a:cubicBezTo>
                  <a:pt x="28" y="361"/>
                  <a:pt x="19" y="380"/>
                  <a:pt x="19" y="401"/>
                </a:cubicBezTo>
                <a:cubicBezTo>
                  <a:pt x="19" y="445"/>
                  <a:pt x="59" y="481"/>
                  <a:pt x="108" y="481"/>
                </a:cubicBezTo>
                <a:cubicBezTo>
                  <a:pt x="112" y="481"/>
                  <a:pt x="115" y="481"/>
                  <a:pt x="119" y="481"/>
                </a:cubicBezTo>
                <a:cubicBezTo>
                  <a:pt x="118" y="481"/>
                  <a:pt x="118" y="481"/>
                  <a:pt x="118" y="481"/>
                </a:cubicBezTo>
                <a:cubicBezTo>
                  <a:pt x="146" y="526"/>
                  <a:pt x="199" y="553"/>
                  <a:pt x="255" y="553"/>
                </a:cubicBezTo>
                <a:cubicBezTo>
                  <a:pt x="284" y="553"/>
                  <a:pt x="312" y="546"/>
                  <a:pt x="336" y="533"/>
                </a:cubicBezTo>
                <a:cubicBezTo>
                  <a:pt x="336" y="533"/>
                  <a:pt x="336" y="533"/>
                  <a:pt x="336" y="533"/>
                </a:cubicBezTo>
                <a:cubicBezTo>
                  <a:pt x="362" y="568"/>
                  <a:pt x="405" y="589"/>
                  <a:pt x="451" y="589"/>
                </a:cubicBezTo>
                <a:cubicBezTo>
                  <a:pt x="511" y="589"/>
                  <a:pt x="565" y="553"/>
                  <a:pt x="583" y="500"/>
                </a:cubicBezTo>
                <a:cubicBezTo>
                  <a:pt x="583" y="500"/>
                  <a:pt x="583" y="500"/>
                  <a:pt x="583" y="500"/>
                </a:cubicBezTo>
                <a:cubicBezTo>
                  <a:pt x="602" y="511"/>
                  <a:pt x="623" y="517"/>
                  <a:pt x="645" y="517"/>
                </a:cubicBezTo>
                <a:cubicBezTo>
                  <a:pt x="710" y="517"/>
                  <a:pt x="763" y="469"/>
                  <a:pt x="764" y="410"/>
                </a:cubicBezTo>
                <a:cubicBezTo>
                  <a:pt x="763" y="410"/>
                  <a:pt x="763" y="410"/>
                  <a:pt x="763" y="410"/>
                </a:cubicBezTo>
                <a:cubicBezTo>
                  <a:pt x="831" y="401"/>
                  <a:pt x="882" y="348"/>
                  <a:pt x="882" y="286"/>
                </a:cubicBezTo>
                <a:cubicBezTo>
                  <a:pt x="882" y="258"/>
                  <a:pt x="872" y="231"/>
                  <a:pt x="853" y="209"/>
                </a:cubicBezTo>
                <a:cubicBezTo>
                  <a:pt x="853" y="209"/>
                  <a:pt x="853" y="209"/>
                  <a:pt x="853" y="209"/>
                </a:cubicBezTo>
                <a:cubicBezTo>
                  <a:pt x="859" y="197"/>
                  <a:pt x="862" y="184"/>
                  <a:pt x="862" y="170"/>
                </a:cubicBezTo>
                <a:cubicBezTo>
                  <a:pt x="862" y="125"/>
                  <a:pt x="829" y="86"/>
                  <a:pt x="782" y="75"/>
                </a:cubicBezTo>
                <a:cubicBezTo>
                  <a:pt x="782" y="74"/>
                  <a:pt x="782" y="74"/>
                  <a:pt x="782" y="74"/>
                </a:cubicBezTo>
                <a:cubicBezTo>
                  <a:pt x="774" y="32"/>
                  <a:pt x="732" y="0"/>
                  <a:pt x="684" y="0"/>
                </a:cubicBezTo>
                <a:cubicBezTo>
                  <a:pt x="655" y="0"/>
                  <a:pt x="628" y="12"/>
                  <a:pt x="609" y="32"/>
                </a:cubicBezTo>
                <a:cubicBezTo>
                  <a:pt x="609" y="32"/>
                  <a:pt x="609" y="32"/>
                  <a:pt x="609" y="32"/>
                </a:cubicBezTo>
                <a:cubicBezTo>
                  <a:pt x="592" y="12"/>
                  <a:pt x="566" y="0"/>
                  <a:pt x="538" y="0"/>
                </a:cubicBezTo>
                <a:cubicBezTo>
                  <a:pt x="504" y="0"/>
                  <a:pt x="473" y="18"/>
                  <a:pt x="458" y="45"/>
                </a:cubicBezTo>
                <a:cubicBezTo>
                  <a:pt x="459" y="47"/>
                  <a:pt x="459" y="47"/>
                  <a:pt x="459" y="47"/>
                </a:cubicBezTo>
                <a:cubicBezTo>
                  <a:pt x="438" y="28"/>
                  <a:pt x="411" y="18"/>
                  <a:pt x="382" y="18"/>
                </a:cubicBezTo>
                <a:cubicBezTo>
                  <a:pt x="342" y="18"/>
                  <a:pt x="305" y="38"/>
                  <a:pt x="286" y="71"/>
                </a:cubicBezTo>
                <a:cubicBezTo>
                  <a:pt x="286" y="71"/>
                  <a:pt x="286" y="71"/>
                  <a:pt x="286" y="71"/>
                </a:cubicBezTo>
                <a:cubicBezTo>
                  <a:pt x="264" y="60"/>
                  <a:pt x="240" y="54"/>
                  <a:pt x="216" y="54"/>
                </a:cubicBezTo>
                <a:cubicBezTo>
                  <a:pt x="140" y="54"/>
                  <a:pt x="78" y="110"/>
                  <a:pt x="78" y="179"/>
                </a:cubicBezTo>
                <a:cubicBezTo>
                  <a:pt x="78" y="185"/>
                  <a:pt x="78" y="191"/>
                  <a:pt x="79" y="196"/>
                </a:cubicBezTo>
                <a:lnTo>
                  <a:pt x="80" y="196"/>
                </a:lnTo>
                <a:close/>
              </a:path>
            </a:pathLst>
          </a:custGeom>
          <a:gradFill rotWithShape="0">
            <a:gsLst>
              <a:gs pos="0">
                <a:srgbClr val="EAEAEA"/>
              </a:gs>
              <a:gs pos="100000">
                <a:srgbClr val="BABABA"/>
              </a:gs>
            </a:gsLst>
            <a:lin ang="5400000" scaled="1"/>
          </a:gradFill>
          <a:ln w="76320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endParaRPr lang="zh-CN" altLang="en-US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7" name="AutoShape 87"/>
          <p:cNvSpPr>
            <a:spLocks noChangeArrowheads="1"/>
          </p:cNvSpPr>
          <p:nvPr/>
        </p:nvSpPr>
        <p:spPr bwMode="auto">
          <a:xfrm>
            <a:off x="3737002" y="1600200"/>
            <a:ext cx="3108325" cy="182563"/>
          </a:xfrm>
          <a:prstGeom prst="rightArrow">
            <a:avLst>
              <a:gd name="adj1" fmla="val 50000"/>
              <a:gd name="adj2" fmla="val 425651"/>
            </a:avLst>
          </a:prstGeom>
          <a:solidFill>
            <a:srgbClr val="3C6AB4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 b="1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标题 1"/>
          <p:cNvSpPr txBox="1">
            <a:spLocks/>
          </p:cNvSpPr>
          <p:nvPr/>
        </p:nvSpPr>
        <p:spPr>
          <a:xfrm>
            <a:off x="12668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marR="0" lvl="0" indent="-9144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传统</a:t>
            </a:r>
            <a:r>
              <a:rPr lang="en-US" altLang="zh-CN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IT</a:t>
            </a: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与虚拟化</a:t>
            </a:r>
            <a:r>
              <a:rPr lang="en-US" altLang="zh-CN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/</a:t>
            </a: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云计算模式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AutoShape 2"/>
          <p:cNvSpPr>
            <a:spLocks noChangeArrowheads="1"/>
          </p:cNvSpPr>
          <p:nvPr/>
        </p:nvSpPr>
        <p:spPr bwMode="auto">
          <a:xfrm>
            <a:off x="209550" y="3557588"/>
            <a:ext cx="8734425" cy="2362200"/>
          </a:xfrm>
          <a:prstGeom prst="roundRect">
            <a:avLst>
              <a:gd name="adj" fmla="val 10282"/>
            </a:avLst>
          </a:prstGeom>
          <a:gradFill rotWithShape="1">
            <a:gsLst>
              <a:gs pos="0">
                <a:schemeClr val="bg1"/>
              </a:gs>
              <a:gs pos="100000">
                <a:srgbClr val="D1D1D1"/>
              </a:gs>
            </a:gsLst>
            <a:lin ang="5400000" scaled="1"/>
          </a:gradFill>
          <a:ln w="28575">
            <a:solidFill>
              <a:srgbClr val="FF99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zh-CN" altLang="en-US"/>
          </a:p>
        </p:txBody>
      </p:sp>
      <p:pic>
        <p:nvPicPr>
          <p:cNvPr id="37892" name="Picture 4" descr="VirtualServer_emptyPla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93975" y="4598988"/>
            <a:ext cx="1111250" cy="1116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3" name="Picture 5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4950" y="3943350"/>
            <a:ext cx="3825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46" name="Picture 6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63875" y="4138613"/>
            <a:ext cx="3825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47" name="Picture 7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51213" y="4333875"/>
            <a:ext cx="382587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96" name="Picture 8" descr="VirtualServer_emptyPla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57313" y="4494213"/>
            <a:ext cx="1111250" cy="1116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49" name="Picture 9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41463" y="3852863"/>
            <a:ext cx="382587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50" name="Picture 10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30388" y="4048125"/>
            <a:ext cx="382587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51" name="Picture 11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17725" y="4243388"/>
            <a:ext cx="3825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00" name="Picture 12" descr="VirtualServer_emptyPla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4465638"/>
            <a:ext cx="1111250" cy="1116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53" name="Picture 13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2750" y="3824288"/>
            <a:ext cx="382588" cy="51435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</p:pic>
      <p:pic>
        <p:nvPicPr>
          <p:cNvPr id="1699854" name="Picture 14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1675" y="4019550"/>
            <a:ext cx="382588" cy="51435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</p:pic>
      <p:sp>
        <p:nvSpPr>
          <p:cNvPr id="1699855" name="AutoShape 15"/>
          <p:cNvSpPr>
            <a:spLocks noChangeArrowheads="1"/>
          </p:cNvSpPr>
          <p:nvPr/>
        </p:nvSpPr>
        <p:spPr bwMode="auto">
          <a:xfrm>
            <a:off x="909638" y="4154488"/>
            <a:ext cx="400050" cy="549275"/>
          </a:xfrm>
          <a:prstGeom prst="flowChartAlternateProcess">
            <a:avLst/>
          </a:prstGeom>
          <a:solidFill>
            <a:srgbClr val="FF3300"/>
          </a:solidFill>
          <a:ln w="28575">
            <a:solidFill>
              <a:srgbClr val="CC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87000"/>
              </a:lnSpc>
              <a:buClr>
                <a:schemeClr val="tx2"/>
              </a:buClr>
              <a:buSzPct val="80000"/>
            </a:pPr>
            <a:endParaRPr lang="en-GB" altLang="zh-CN" dirty="0">
              <a:solidFill>
                <a:schemeClr val="bg1"/>
              </a:solidFill>
            </a:endParaRPr>
          </a:p>
        </p:txBody>
      </p:sp>
      <p:pic>
        <p:nvPicPr>
          <p:cNvPr id="1699856" name="Picture 16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7575" y="4186238"/>
            <a:ext cx="382588" cy="51435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</p:pic>
      <p:pic>
        <p:nvPicPr>
          <p:cNvPr id="37905" name="Picture 17" descr="VirtualServer_emptyPla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81600" y="4545013"/>
            <a:ext cx="1117600" cy="112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06" name="Picture 18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65750" y="3903663"/>
            <a:ext cx="385763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59" name="Picture 19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54675" y="4098925"/>
            <a:ext cx="385763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60" name="Picture 20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42013" y="4294188"/>
            <a:ext cx="3857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09" name="Picture 21" descr="VirtualServer_emptyPla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48113" y="4592638"/>
            <a:ext cx="1117600" cy="112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62" name="Picture 22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2263" y="3951288"/>
            <a:ext cx="385762" cy="520700"/>
          </a:xfrm>
          <a:prstGeom prst="rect">
            <a:avLst/>
          </a:prstGeom>
          <a:noFill/>
          <a:ln w="38100">
            <a:solidFill>
              <a:srgbClr val="006600"/>
            </a:solidFill>
            <a:miter lim="800000"/>
            <a:headEnd/>
            <a:tailEnd/>
          </a:ln>
        </p:spPr>
      </p:pic>
      <p:pic>
        <p:nvPicPr>
          <p:cNvPr id="1699863" name="Picture 23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21188" y="4146550"/>
            <a:ext cx="385762" cy="520700"/>
          </a:xfrm>
          <a:prstGeom prst="rect">
            <a:avLst/>
          </a:prstGeom>
          <a:noFill/>
          <a:ln w="38100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1699864" name="Picture 24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08525" y="4341813"/>
            <a:ext cx="385763" cy="520700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</p:pic>
      <p:pic>
        <p:nvPicPr>
          <p:cNvPr id="37913" name="Picture 25" descr="VirtualServer_emptyPla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05575" y="4575175"/>
            <a:ext cx="1117600" cy="1122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14" name="Picture 26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46863" y="4019550"/>
            <a:ext cx="3857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67" name="Picture 27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35788" y="4129088"/>
            <a:ext cx="385762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68" name="Picture 28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23125" y="4324350"/>
            <a:ext cx="385763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69" name="Text Box 29"/>
          <p:cNvSpPr txBox="1">
            <a:spLocks noChangeArrowheads="1"/>
          </p:cNvSpPr>
          <p:nvPr/>
        </p:nvSpPr>
        <p:spPr bwMode="auto">
          <a:xfrm>
            <a:off x="4191000" y="4478338"/>
            <a:ext cx="611188" cy="146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63" tIns="46032" rIns="92063" bIns="46032">
            <a:spAutoFit/>
          </a:bodyPr>
          <a:lstStyle/>
          <a:p>
            <a:pPr algn="ctr" eaLnBrk="0" hangingPunct="0">
              <a:lnSpc>
                <a:spcPct val="85000"/>
              </a:lnSpc>
            </a:pPr>
            <a:r>
              <a:rPr lang="en-US" altLang="zh-CN" sz="10600" b="1" dirty="0">
                <a:solidFill>
                  <a:srgbClr val="FF0000"/>
                </a:solidFill>
              </a:rPr>
              <a:t>X</a:t>
            </a:r>
          </a:p>
        </p:txBody>
      </p:sp>
      <p:pic>
        <p:nvPicPr>
          <p:cNvPr id="1699870" name="Picture 30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13600" y="4276725"/>
            <a:ext cx="385763" cy="520700"/>
          </a:xfrm>
          <a:prstGeom prst="rect">
            <a:avLst/>
          </a:prstGeom>
          <a:noFill/>
          <a:ln w="38100">
            <a:solidFill>
              <a:srgbClr val="006600"/>
            </a:solidFill>
            <a:miter lim="800000"/>
            <a:headEnd/>
            <a:tailEnd/>
          </a:ln>
        </p:spPr>
      </p:pic>
      <p:pic>
        <p:nvPicPr>
          <p:cNvPr id="1699871" name="Picture 31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12038" y="4383088"/>
            <a:ext cx="385762" cy="520700"/>
          </a:xfrm>
          <a:prstGeom prst="rect">
            <a:avLst/>
          </a:prstGeom>
          <a:noFill/>
          <a:ln w="38100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1699872" name="Picture 32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84888" y="4356100"/>
            <a:ext cx="385762" cy="520700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</p:pic>
      <p:pic>
        <p:nvPicPr>
          <p:cNvPr id="1699873" name="Picture 33" descr="VirtualServer_emptyPla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45425" y="4605338"/>
            <a:ext cx="1117600" cy="112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9874" name="Picture 34" descr="smallv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96000" y="4343400"/>
            <a:ext cx="385763" cy="520700"/>
          </a:xfrm>
          <a:prstGeom prst="rect">
            <a:avLst/>
          </a:prstGeom>
          <a:noFill/>
          <a:ln w="38100">
            <a:solidFill>
              <a:srgbClr val="FF3300"/>
            </a:solidFill>
            <a:miter lim="800000"/>
            <a:headEnd/>
            <a:tailEnd/>
          </a:ln>
        </p:spPr>
      </p:pic>
      <p:grpSp>
        <p:nvGrpSpPr>
          <p:cNvPr id="2" name="Group 35"/>
          <p:cNvGrpSpPr>
            <a:grpSpLocks/>
          </p:cNvGrpSpPr>
          <p:nvPr/>
        </p:nvGrpSpPr>
        <p:grpSpPr bwMode="auto">
          <a:xfrm>
            <a:off x="204788" y="1363663"/>
            <a:ext cx="2847975" cy="1760537"/>
            <a:chOff x="129" y="864"/>
            <a:chExt cx="1794" cy="1109"/>
          </a:xfrm>
          <a:noFill/>
        </p:grpSpPr>
        <p:sp>
          <p:nvSpPr>
            <p:cNvPr id="37936" name="AutoShape 36"/>
            <p:cNvSpPr>
              <a:spLocks noChangeArrowheads="1"/>
            </p:cNvSpPr>
            <p:nvPr/>
          </p:nvSpPr>
          <p:spPr bwMode="auto">
            <a:xfrm>
              <a:off x="129" y="864"/>
              <a:ext cx="1794" cy="1109"/>
            </a:xfrm>
            <a:prstGeom prst="roundRect">
              <a:avLst>
                <a:gd name="adj" fmla="val 21986"/>
              </a:avLst>
            </a:prstGeom>
            <a:grpFill/>
            <a:ln w="38100" algn="ctr">
              <a:solidFill>
                <a:schemeClr val="accent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hangingPunct="0"/>
              <a:endParaRPr lang="en-GB" altLang="zh-CN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99877" name="AutoShape 37"/>
            <p:cNvSpPr>
              <a:spLocks noChangeArrowheads="1"/>
            </p:cNvSpPr>
            <p:nvPr/>
          </p:nvSpPr>
          <p:spPr bwMode="auto">
            <a:xfrm>
              <a:off x="151" y="981"/>
              <a:ext cx="1750" cy="875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rgbClr val="AAAA8C"/>
              </a:solidFill>
              <a:round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algn="ctr" eaLnBrk="0" hangingPunct="0">
                <a:buFontTx/>
                <a:buChar char="•"/>
                <a:defRPr/>
              </a:pPr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  <a:p>
              <a:pPr algn="ctr" eaLnBrk="0" hangingPunct="0">
                <a:defRPr/>
              </a:pP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 </a:t>
              </a:r>
            </a:p>
          </p:txBody>
        </p:sp>
        <p:sp>
          <p:nvSpPr>
            <p:cNvPr id="37938" name="Rectangle 38"/>
            <p:cNvSpPr>
              <a:spLocks noChangeArrowheads="1"/>
            </p:cNvSpPr>
            <p:nvPr/>
          </p:nvSpPr>
          <p:spPr bwMode="auto">
            <a:xfrm>
              <a:off x="288" y="1008"/>
              <a:ext cx="1566" cy="205"/>
            </a:xfrm>
            <a:prstGeom prst="rect">
              <a:avLst/>
            </a:prstGeom>
            <a:grpFill/>
            <a:ln w="28575" algn="ctr">
              <a:noFill/>
              <a:miter lim="800000"/>
              <a:headEnd/>
              <a:tailEnd/>
            </a:ln>
          </p:spPr>
          <p:txBody>
            <a:bodyPr lIns="45720" rIns="45720" anchorCtr="1">
              <a:spAutoFit/>
            </a:bodyPr>
            <a:lstStyle/>
            <a:p>
              <a:pPr marL="280988" indent="-280988" eaLnBrk="0" hangingPunct="0">
                <a:lnSpc>
                  <a:spcPct val="85000"/>
                </a:lnSpc>
                <a:buSzPct val="70000"/>
              </a:pPr>
              <a:r>
                <a:rPr lang="zh-CN" altLang="en-US" b="1" u="sng" dirty="0">
                  <a:latin typeface="微软雅黑" pitchFamily="34" charset="-122"/>
                  <a:ea typeface="微软雅黑" pitchFamily="34" charset="-122"/>
                </a:rPr>
                <a:t>自动资源保证</a:t>
              </a:r>
            </a:p>
          </p:txBody>
        </p:sp>
        <p:sp>
          <p:nvSpPr>
            <p:cNvPr id="37939" name="Rectangle 39"/>
            <p:cNvSpPr>
              <a:spLocks noChangeArrowheads="1"/>
            </p:cNvSpPr>
            <p:nvPr/>
          </p:nvSpPr>
          <p:spPr bwMode="auto">
            <a:xfrm>
              <a:off x="524" y="1440"/>
              <a:ext cx="1116" cy="355"/>
            </a:xfrm>
            <a:prstGeom prst="rect">
              <a:avLst/>
            </a:prstGeom>
            <a:grpFill/>
            <a:ln w="28575" algn="ctr">
              <a:noFill/>
              <a:miter lim="800000"/>
              <a:headEnd/>
              <a:tailEnd/>
            </a:ln>
          </p:spPr>
          <p:txBody>
            <a:bodyPr wrap="none" lIns="45720" rIns="45720" anchorCtr="1">
              <a:spAutoFit/>
            </a:bodyPr>
            <a:lstStyle/>
            <a:p>
              <a:pPr marL="280988" indent="-280988" eaLnBrk="0" hangingPunct="0">
                <a:lnSpc>
                  <a:spcPct val="85000"/>
                </a:lnSpc>
                <a:buSzPct val="70000"/>
                <a:buFontTx/>
                <a:buBlip>
                  <a:blip r:embed="rId5"/>
                </a:buBlip>
              </a:pP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动态负载均衡</a:t>
              </a:r>
            </a:p>
            <a:p>
              <a:pPr marL="280988" indent="-280988" eaLnBrk="0" hangingPunct="0">
                <a:lnSpc>
                  <a:spcPct val="85000"/>
                </a:lnSpc>
                <a:buSzPct val="70000"/>
                <a:buFontTx/>
                <a:buBlip>
                  <a:blip r:embed="rId5"/>
                </a:buBlip>
              </a:pP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持续负载优化</a:t>
              </a:r>
              <a:endParaRPr lang="zh-CN" altLang="en-US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" name="Group 40"/>
          <p:cNvGrpSpPr>
            <a:grpSpLocks/>
          </p:cNvGrpSpPr>
          <p:nvPr/>
        </p:nvGrpSpPr>
        <p:grpSpPr bwMode="auto">
          <a:xfrm>
            <a:off x="3148013" y="1363663"/>
            <a:ext cx="2847975" cy="1760537"/>
            <a:chOff x="1983" y="864"/>
            <a:chExt cx="1794" cy="1109"/>
          </a:xfrm>
          <a:noFill/>
        </p:grpSpPr>
        <p:sp>
          <p:nvSpPr>
            <p:cNvPr id="37932" name="AutoShape 41"/>
            <p:cNvSpPr>
              <a:spLocks noChangeArrowheads="1"/>
            </p:cNvSpPr>
            <p:nvPr/>
          </p:nvSpPr>
          <p:spPr bwMode="auto">
            <a:xfrm>
              <a:off x="1983" y="864"/>
              <a:ext cx="1794" cy="1109"/>
            </a:xfrm>
            <a:prstGeom prst="roundRect">
              <a:avLst>
                <a:gd name="adj" fmla="val 21986"/>
              </a:avLst>
            </a:prstGeom>
            <a:grpFill/>
            <a:ln w="38100" algn="ctr">
              <a:solidFill>
                <a:schemeClr val="accent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hangingPunct="0"/>
              <a:endParaRPr lang="en-GB" altLang="zh-CN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99882" name="AutoShape 42"/>
            <p:cNvSpPr>
              <a:spLocks noChangeArrowheads="1"/>
            </p:cNvSpPr>
            <p:nvPr/>
          </p:nvSpPr>
          <p:spPr bwMode="auto">
            <a:xfrm>
              <a:off x="2005" y="981"/>
              <a:ext cx="1750" cy="875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rgbClr val="AAAA8C"/>
              </a:solidFill>
              <a:round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algn="ctr" eaLnBrk="0" hangingPunct="0">
                <a:buFontTx/>
                <a:buChar char="•"/>
                <a:defRPr/>
              </a:pPr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  <a:p>
              <a:pPr algn="ctr" eaLnBrk="0" hangingPunct="0">
                <a:defRPr/>
              </a:pP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 </a:t>
              </a:r>
            </a:p>
          </p:txBody>
        </p:sp>
        <p:sp>
          <p:nvSpPr>
            <p:cNvPr id="37934" name="Rectangle 43"/>
            <p:cNvSpPr>
              <a:spLocks noChangeArrowheads="1"/>
            </p:cNvSpPr>
            <p:nvPr/>
          </p:nvSpPr>
          <p:spPr bwMode="auto">
            <a:xfrm>
              <a:off x="2112" y="1043"/>
              <a:ext cx="1536" cy="205"/>
            </a:xfrm>
            <a:prstGeom prst="rect">
              <a:avLst/>
            </a:prstGeom>
            <a:grpFill/>
            <a:ln w="28575" algn="ctr">
              <a:noFill/>
              <a:miter lim="800000"/>
              <a:headEnd/>
              <a:tailEnd/>
            </a:ln>
          </p:spPr>
          <p:txBody>
            <a:bodyPr lIns="45720" rIns="45720" anchorCtr="1">
              <a:spAutoFit/>
            </a:bodyPr>
            <a:lstStyle/>
            <a:p>
              <a:pPr marL="280988" indent="-280988" eaLnBrk="0" hangingPunct="0">
                <a:lnSpc>
                  <a:spcPct val="85000"/>
                </a:lnSpc>
                <a:buSzPct val="70000"/>
              </a:pPr>
              <a:r>
                <a:rPr lang="zh-CN" altLang="en-US" b="1" u="sng">
                  <a:latin typeface="微软雅黑" pitchFamily="34" charset="-122"/>
                  <a:ea typeface="微软雅黑" pitchFamily="34" charset="-122"/>
                </a:rPr>
                <a:t>增加可用性</a:t>
              </a:r>
            </a:p>
          </p:txBody>
        </p:sp>
        <p:sp>
          <p:nvSpPr>
            <p:cNvPr id="37935" name="Rectangle 44"/>
            <p:cNvSpPr>
              <a:spLocks noChangeArrowheads="1"/>
            </p:cNvSpPr>
            <p:nvPr/>
          </p:nvSpPr>
          <p:spPr bwMode="auto">
            <a:xfrm>
              <a:off x="2064" y="1408"/>
              <a:ext cx="1584" cy="503"/>
            </a:xfrm>
            <a:prstGeom prst="rect">
              <a:avLst/>
            </a:prstGeom>
            <a:grpFill/>
            <a:ln w="28575" algn="ctr">
              <a:noFill/>
              <a:miter lim="800000"/>
              <a:headEnd/>
              <a:tailEnd/>
            </a:ln>
          </p:spPr>
          <p:txBody>
            <a:bodyPr lIns="45720" rIns="45720" anchorCtr="1">
              <a:spAutoFit/>
            </a:bodyPr>
            <a:lstStyle/>
            <a:p>
              <a:pPr marL="280988" indent="-280988" eaLnBrk="0" hangingPunct="0">
                <a:lnSpc>
                  <a:spcPct val="85000"/>
                </a:lnSpc>
                <a:buSzPct val="70000"/>
                <a:buFontTx/>
                <a:buBlip>
                  <a:blip r:embed="rId5"/>
                </a:buBlip>
              </a:pP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自动化</a:t>
              </a:r>
            </a:p>
            <a:p>
              <a:pPr marL="280988" indent="-280988" eaLnBrk="0" hangingPunct="0">
                <a:lnSpc>
                  <a:spcPct val="85000"/>
                </a:lnSpc>
                <a:buSzPct val="70000"/>
                <a:buFontTx/>
                <a:buBlip>
                  <a:blip r:embed="rId5"/>
                </a:buBlip>
              </a:pP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支持所有应用</a:t>
              </a:r>
            </a:p>
            <a:p>
              <a:pPr marL="280988" indent="-280988" eaLnBrk="0" hangingPunct="0">
                <a:lnSpc>
                  <a:spcPct val="85000"/>
                </a:lnSpc>
                <a:buSzPct val="70000"/>
                <a:buFontTx/>
                <a:buBlip>
                  <a:blip r:embed="rId5"/>
                </a:buBlip>
              </a:pPr>
              <a:endParaRPr lang="en-US" altLang="zh-CN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" name="Group 45"/>
          <p:cNvGrpSpPr>
            <a:grpSpLocks/>
          </p:cNvGrpSpPr>
          <p:nvPr/>
        </p:nvGrpSpPr>
        <p:grpSpPr bwMode="auto">
          <a:xfrm>
            <a:off x="6094413" y="1371600"/>
            <a:ext cx="2847975" cy="1760538"/>
            <a:chOff x="3828" y="864"/>
            <a:chExt cx="1794" cy="1109"/>
          </a:xfrm>
          <a:noFill/>
        </p:grpSpPr>
        <p:sp>
          <p:nvSpPr>
            <p:cNvPr id="37928" name="AutoShape 46"/>
            <p:cNvSpPr>
              <a:spLocks noChangeArrowheads="1"/>
            </p:cNvSpPr>
            <p:nvPr/>
          </p:nvSpPr>
          <p:spPr bwMode="auto">
            <a:xfrm>
              <a:off x="3828" y="864"/>
              <a:ext cx="1794" cy="1109"/>
            </a:xfrm>
            <a:prstGeom prst="roundRect">
              <a:avLst>
                <a:gd name="adj" fmla="val 21986"/>
              </a:avLst>
            </a:prstGeom>
            <a:grpFill/>
            <a:ln w="38100" algn="ctr">
              <a:solidFill>
                <a:schemeClr val="accent1"/>
              </a:solidFill>
              <a:round/>
              <a:headEnd/>
              <a:tailEnd/>
            </a:ln>
          </p:spPr>
          <p:txBody>
            <a:bodyPr lIns="45720" rIns="45720" anchor="ctr" anchorCtr="1"/>
            <a:lstStyle/>
            <a:p>
              <a:pPr algn="ctr" eaLnBrk="0" hangingPunct="0"/>
              <a:endParaRPr lang="en-GB" altLang="zh-CN" b="1" dirty="0"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699887" name="AutoShape 47"/>
            <p:cNvSpPr>
              <a:spLocks noChangeArrowheads="1"/>
            </p:cNvSpPr>
            <p:nvPr/>
          </p:nvSpPr>
          <p:spPr bwMode="auto">
            <a:xfrm>
              <a:off x="3850" y="981"/>
              <a:ext cx="1750" cy="875"/>
            </a:xfrm>
            <a:prstGeom prst="roundRect">
              <a:avLst>
                <a:gd name="adj" fmla="val 16667"/>
              </a:avLst>
            </a:prstGeom>
            <a:grpFill/>
            <a:ln w="28575" algn="ctr">
              <a:solidFill>
                <a:srgbClr val="AAAA8C"/>
              </a:solidFill>
              <a:round/>
              <a:headEnd/>
              <a:tailEnd/>
            </a:ln>
            <a:effectLst/>
          </p:spPr>
          <p:txBody>
            <a:bodyPr lIns="45720" rIns="45720" anchor="ctr" anchorCtr="1"/>
            <a:lstStyle/>
            <a:p>
              <a:pPr algn="ctr" eaLnBrk="0" hangingPunct="0">
                <a:buFontTx/>
                <a:buChar char="•"/>
                <a:defRPr/>
              </a:pPr>
              <a:endParaRPr lang="zh-CN" altLang="en-US" b="1">
                <a:latin typeface="微软雅黑" pitchFamily="34" charset="-122"/>
                <a:ea typeface="微软雅黑" pitchFamily="34" charset="-122"/>
              </a:endParaRPr>
            </a:p>
            <a:p>
              <a:pPr algn="ctr" eaLnBrk="0" hangingPunct="0">
                <a:defRPr/>
              </a:pP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 </a:t>
              </a:r>
            </a:p>
          </p:txBody>
        </p:sp>
        <p:sp>
          <p:nvSpPr>
            <p:cNvPr id="37930" name="Rectangle 48"/>
            <p:cNvSpPr>
              <a:spLocks noChangeArrowheads="1"/>
            </p:cNvSpPr>
            <p:nvPr/>
          </p:nvSpPr>
          <p:spPr bwMode="auto">
            <a:xfrm>
              <a:off x="3957" y="1056"/>
              <a:ext cx="1563" cy="205"/>
            </a:xfrm>
            <a:prstGeom prst="rect">
              <a:avLst/>
            </a:prstGeom>
            <a:grpFill/>
            <a:ln w="28575" algn="ctr">
              <a:noFill/>
              <a:miter lim="800000"/>
              <a:headEnd/>
              <a:tailEnd/>
            </a:ln>
          </p:spPr>
          <p:txBody>
            <a:bodyPr lIns="45720" rIns="45720" anchorCtr="1">
              <a:spAutoFit/>
            </a:bodyPr>
            <a:lstStyle/>
            <a:p>
              <a:pPr marL="280988" indent="-280988" eaLnBrk="0" hangingPunct="0">
                <a:lnSpc>
                  <a:spcPct val="85000"/>
                </a:lnSpc>
                <a:buSzPct val="70000"/>
              </a:pPr>
              <a:r>
                <a:rPr lang="zh-CN" altLang="en-US" b="1" u="sng">
                  <a:latin typeface="微软雅黑" pitchFamily="34" charset="-122"/>
                  <a:ea typeface="微软雅黑" pitchFamily="34" charset="-122"/>
                </a:rPr>
                <a:t> 容量按需分配</a:t>
              </a:r>
            </a:p>
          </p:txBody>
        </p:sp>
        <p:sp>
          <p:nvSpPr>
            <p:cNvPr id="37931" name="Rectangle 49"/>
            <p:cNvSpPr>
              <a:spLocks noChangeArrowheads="1"/>
            </p:cNvSpPr>
            <p:nvPr/>
          </p:nvSpPr>
          <p:spPr bwMode="auto">
            <a:xfrm>
              <a:off x="3932" y="1392"/>
              <a:ext cx="1498" cy="355"/>
            </a:xfrm>
            <a:prstGeom prst="rect">
              <a:avLst/>
            </a:prstGeom>
            <a:grpFill/>
            <a:ln w="28575" algn="ctr">
              <a:noFill/>
              <a:miter lim="800000"/>
              <a:headEnd/>
              <a:tailEnd/>
            </a:ln>
          </p:spPr>
          <p:txBody>
            <a:bodyPr wrap="none" lIns="45720" rIns="45720" anchorCtr="1">
              <a:spAutoFit/>
            </a:bodyPr>
            <a:lstStyle/>
            <a:p>
              <a:pPr lvl="1" eaLnBrk="0" hangingPunct="0">
                <a:lnSpc>
                  <a:spcPct val="85000"/>
                </a:lnSpc>
                <a:buSzPct val="70000"/>
                <a:buFontTx/>
                <a:buBlip>
                  <a:blip r:embed="rId5"/>
                </a:buBlip>
              </a:pPr>
              <a:r>
                <a:rPr lang="zh-CN" altLang="en-US">
                  <a:latin typeface="微软雅黑" pitchFamily="34" charset="-122"/>
                  <a:ea typeface="微软雅黑" pitchFamily="34" charset="-122"/>
                </a:rPr>
                <a:t> </a:t>
              </a: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不中断扩展</a:t>
              </a:r>
            </a:p>
            <a:p>
              <a:pPr lvl="1" eaLnBrk="0" hangingPunct="0">
                <a:lnSpc>
                  <a:spcPct val="85000"/>
                </a:lnSpc>
                <a:buSzPct val="70000"/>
                <a:buFontTx/>
                <a:buBlip>
                  <a:blip r:embed="rId5"/>
                </a:buBlip>
              </a:pPr>
              <a:r>
                <a:rPr lang="zh-CN" altLang="en-US" b="1">
                  <a:latin typeface="微软雅黑" pitchFamily="34" charset="-122"/>
                  <a:ea typeface="微软雅黑" pitchFamily="34" charset="-122"/>
                </a:rPr>
                <a:t> 弹性，重新配置</a:t>
              </a:r>
            </a:p>
          </p:txBody>
        </p:sp>
      </p:grpSp>
      <p:sp>
        <p:nvSpPr>
          <p:cNvPr id="1699890" name="Text Box 50"/>
          <p:cNvSpPr txBox="1">
            <a:spLocks noChangeArrowheads="1"/>
          </p:cNvSpPr>
          <p:nvPr/>
        </p:nvSpPr>
        <p:spPr bwMode="auto">
          <a:xfrm>
            <a:off x="5715000" y="1706563"/>
            <a:ext cx="457200" cy="1189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7200" dirty="0">
                <a:latin typeface="微软雅黑" pitchFamily="34" charset="-122"/>
                <a:ea typeface="微软雅黑" pitchFamily="34" charset="-122"/>
              </a:rPr>
              <a:t>+</a:t>
            </a:r>
          </a:p>
        </p:txBody>
      </p:sp>
      <p:sp>
        <p:nvSpPr>
          <p:cNvPr id="1699891" name="Text Box 51"/>
          <p:cNvSpPr txBox="1">
            <a:spLocks noChangeArrowheads="1"/>
          </p:cNvSpPr>
          <p:nvPr/>
        </p:nvSpPr>
        <p:spPr bwMode="auto">
          <a:xfrm>
            <a:off x="2743200" y="1592263"/>
            <a:ext cx="457200" cy="1189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7200" dirty="0">
                <a:latin typeface="微软雅黑" pitchFamily="34" charset="-122"/>
                <a:ea typeface="微软雅黑" pitchFamily="34" charset="-122"/>
              </a:rPr>
              <a:t>+</a:t>
            </a:r>
          </a:p>
        </p:txBody>
      </p:sp>
      <p:sp>
        <p:nvSpPr>
          <p:cNvPr id="54" name="标题 1"/>
          <p:cNvSpPr txBox="1">
            <a:spLocks/>
          </p:cNvSpPr>
          <p:nvPr/>
        </p:nvSpPr>
        <p:spPr>
          <a:xfrm>
            <a:off x="-32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marR="0" lvl="0" indent="-9144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虚拟化平台的优良特性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77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repeatCount="3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69985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69985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4.81481E-6 L 0.21806 0.07593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6998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00" y="38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569 0.01943 L 0.31337 0.06522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6998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900" y="230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2292 -0.00972 " pathEditMode="relative" ptsTypes="AA">
                                      <p:cBhvr>
                                        <p:cTn id="20" dur="2000" fill="hold"/>
                                        <p:tgtEl>
                                          <p:spTgt spid="16998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12 2.96296E-6 L -0.00365 -0.01135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6998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0" y="-60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3.33333E-6 L -0.0118 -0.01898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6998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0" y="-90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12 2.96296E-6 L -0.00365 -0.01135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6998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0" y="-600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3.33333E-6 L -0.0118 -0.01898 " pathEditMode="relative" rAng="0" ptsTypes="AA">
                                      <p:cBhvr>
                                        <p:cTn id="28" dur="2000" fill="hold"/>
                                        <p:tgtEl>
                                          <p:spTgt spid="16998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0" y="-9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998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0" presetClass="exit" presetSubtype="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1000"/>
                                        <p:tgtEl>
                                          <p:spTgt spid="16998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998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1000"/>
                                        <p:tgtEl>
                                          <p:spTgt spid="16998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998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1000"/>
                                        <p:tgtEl>
                                          <p:spTgt spid="16998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998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6998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6998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6998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3.7037E-6 L -0.00834 -0.01435 " pathEditMode="relative" ptsTypes="AA">
                                      <p:cBhvr>
                                        <p:cTn id="62" dur="1000" fill="hold"/>
                                        <p:tgtEl>
                                          <p:spTgt spid="16998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3.33333E-6 L -0.0118 -0.01898 " pathEditMode="relative" rAng="0" ptsTypes="AA">
                                      <p:cBhvr>
                                        <p:cTn id="64" dur="1000" fill="hold"/>
                                        <p:tgtEl>
                                          <p:spTgt spid="16998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0" y="-900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81481E-6 L -0.0158 -0.0155 " pathEditMode="relative" rAng="0" ptsTypes="AA">
                                      <p:cBhvr>
                                        <p:cTn id="66" dur="1000" fill="hold"/>
                                        <p:tgtEl>
                                          <p:spTgt spid="16998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00" y="-800"/>
                                    </p:animMotion>
                                  </p:childTnLst>
                                </p:cTn>
                              </p:par>
                              <p:par>
                                <p:cTn id="6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4.44444E-6 L -0.02743 -0.02523 " pathEditMode="relative" rAng="0" ptsTypes="AA">
                                      <p:cBhvr>
                                        <p:cTn id="68" dur="1000" fill="hold"/>
                                        <p:tgtEl>
                                          <p:spTgt spid="16998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00" y="-130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6998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9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1000"/>
                            </p:stCondLst>
                            <p:childTnLst>
                              <p:par>
                                <p:cTn id="86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865 -0.02613 L 0.25035 0.00069 " pathEditMode="relative" rAng="0" ptsTypes="AA">
                                      <p:cBhvr>
                                        <p:cTn id="87" dur="2000" fill="hold"/>
                                        <p:tgtEl>
                                          <p:spTgt spid="16998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900" y="1300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795 0.01711 L 0.72639 0.037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16998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900" y="1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99855" grpId="0" animBg="1"/>
      <p:bldP spid="1699855" grpId="1" animBg="1"/>
      <p:bldP spid="1699869" grpId="0"/>
      <p:bldP spid="1699890" grpId="0"/>
      <p:bldP spid="169989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06" y="128062"/>
            <a:ext cx="8229600" cy="1143000"/>
          </a:xfrm>
        </p:spPr>
        <p:txBody>
          <a:bodyPr/>
          <a:lstStyle/>
          <a:p>
            <a:pPr lvl="0" algn="l"/>
            <a:r>
              <a:rPr lang="zh-CN" altLang="en-US" sz="3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虚拟化平台的优良特性</a:t>
            </a:r>
            <a:br>
              <a:rPr lang="zh-CN" altLang="en-US" sz="3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</a:br>
            <a:endParaRPr lang="zh-CN" altLang="en-US" sz="3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信息技术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数据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2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提供多重实时数据副本，保证在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X86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体系下数据的灾难恢复；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2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基于块设备级别的备份和恢复技术，极大提升业务数据的备份和恢复速度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应用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2"/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利用</a:t>
            </a:r>
            <a:r>
              <a:rPr lang="en-US" altLang="zh-CN" dirty="0" err="1" smtClean="0">
                <a:latin typeface="微软雅黑" pitchFamily="34" charset="-122"/>
                <a:ea typeface="微软雅黑" pitchFamily="34" charset="-122"/>
              </a:rPr>
              <a:t>vMotion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迁移技术，减少计划内迁移和计划外故障恢复的停机时间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2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通过资源回收站功能，在资源被误删除的情况下可以找回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业务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2"/>
            <a:r>
              <a:rPr lang="zh-CN" altLang="en-US" dirty="0">
                <a:latin typeface="微软雅黑" pitchFamily="34" charset="-122"/>
                <a:ea typeface="微软雅黑" pitchFamily="34" charset="-122"/>
              </a:rPr>
              <a:t>利用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Load Balance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负载均衡技术，将业务负载到不同应用后端，最大限度保证业务可用性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网络安全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2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利用软件定义网络（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SDN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）技术构建二层完全隔离的网络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2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利用防火墙技术和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SSH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密钥登录技术防护非授权访问与攻击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  <a:p>
            <a:pPr lvl="2"/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利用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IPSEC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隧道技术和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OPEN VPN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技术构建安全的跨地域网络</a:t>
            </a:r>
            <a:endParaRPr lang="en-US" altLang="zh-CN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59904914"/>
      </p:ext>
    </p:extLst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06" y="128062"/>
            <a:ext cx="8229600" cy="1143000"/>
          </a:xfrm>
        </p:spPr>
        <p:txBody>
          <a:bodyPr/>
          <a:lstStyle/>
          <a:p>
            <a:pPr lvl="0" algn="l"/>
            <a:r>
              <a:rPr lang="zh-CN" altLang="en-US" sz="3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虚拟化平台的优良特性</a:t>
            </a:r>
            <a:br>
              <a:rPr lang="zh-CN" altLang="en-US" sz="36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</a:br>
            <a:endParaRPr lang="zh-CN" altLang="en-US" sz="3600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idx="1"/>
          </p:nvPr>
        </p:nvSpPr>
        <p:spPr>
          <a:xfrm>
            <a:off x="457200" y="1556792"/>
            <a:ext cx="8229600" cy="4525963"/>
          </a:xfrm>
        </p:spPr>
        <p:txBody>
          <a:bodyPr>
            <a:normAutofit/>
          </a:bodyPr>
          <a:lstStyle/>
          <a:p>
            <a:r>
              <a:rPr lang="zh-CN" altLang="en-US" sz="2200" dirty="0" smtClean="0">
                <a:latin typeface="微软雅黑" pitchFamily="34" charset="-122"/>
                <a:ea typeface="微软雅黑" pitchFamily="34" charset="-122"/>
              </a:rPr>
              <a:t>商业信息安全</a:t>
            </a:r>
            <a:endParaRPr lang="en-US" altLang="zh-CN" sz="2200" dirty="0" smtClean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子账户功能，保证企业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内部不同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账户之间的资源隔离与共享</a:t>
            </a:r>
          </a:p>
          <a:p>
            <a:pPr lvl="1"/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账户锁功能，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提供针对当前用资源的“锁定”或“解锁”设置，确保用户资源更安全</a:t>
            </a:r>
            <a:endParaRPr lang="zh-CN" altLang="en-US" sz="2000" dirty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操作日志功能，用于企业审核操作记录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全年用户数据</a:t>
            </a:r>
            <a:r>
              <a:rPr lang="zh-CN" altLang="en-US" sz="2000" smtClean="0">
                <a:latin typeface="微软雅黑" pitchFamily="34" charset="-122"/>
                <a:ea typeface="微软雅黑" pitchFamily="34" charset="-122"/>
              </a:rPr>
              <a:t>的可靠性</a:t>
            </a:r>
            <a:r>
              <a:rPr lang="en-US" altLang="zh-CN" sz="2000" smtClean="0">
                <a:latin typeface="微软雅黑" pitchFamily="34" charset="-122"/>
                <a:ea typeface="微软雅黑" pitchFamily="34" charset="-122"/>
              </a:rPr>
              <a:t>99.99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%</a:t>
            </a:r>
          </a:p>
          <a:p>
            <a:pPr lvl="1"/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虚拟化云</a:t>
            </a:r>
            <a:r>
              <a:rPr lang="zh-CN" altLang="en-US" sz="2000" dirty="0">
                <a:latin typeface="微软雅黑" pitchFamily="34" charset="-122"/>
                <a:ea typeface="微软雅黑" pitchFamily="34" charset="-122"/>
              </a:rPr>
              <a:t>平台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服务的可用性</a:t>
            </a:r>
            <a:r>
              <a:rPr lang="en-US" altLang="zh-CN" sz="2000" dirty="0">
                <a:latin typeface="微软雅黑" pitchFamily="34" charset="-122"/>
                <a:ea typeface="微软雅黑" pitchFamily="34" charset="-122"/>
              </a:rPr>
              <a:t>99.97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%</a:t>
            </a:r>
          </a:p>
          <a:p>
            <a:pPr lvl="1"/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全程加密的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WEB UI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和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API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，保证用户与云端交互的安全性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  <a:p>
            <a:pPr lvl="1"/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数据存储的加密可以通过应用层面实现，例如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Windows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的</a:t>
            </a:r>
            <a:r>
              <a:rPr lang="en-US" altLang="zh-CN" sz="2000" dirty="0" smtClean="0">
                <a:latin typeface="微软雅黑" pitchFamily="34" charset="-122"/>
                <a:ea typeface="微软雅黑" pitchFamily="34" charset="-122"/>
              </a:rPr>
              <a:t>EFS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、</a:t>
            </a:r>
            <a:r>
              <a:rPr lang="en-US" altLang="zh-CN" sz="2000" dirty="0" err="1" smtClean="0">
                <a:latin typeface="微软雅黑" pitchFamily="34" charset="-122"/>
                <a:ea typeface="微软雅黑" pitchFamily="34" charset="-122"/>
              </a:rPr>
              <a:t>BitLocker</a:t>
            </a:r>
            <a:r>
              <a:rPr lang="zh-CN" altLang="en-US" sz="2000" dirty="0" smtClean="0">
                <a:latin typeface="微软雅黑" pitchFamily="34" charset="-122"/>
                <a:ea typeface="微软雅黑" pitchFamily="34" charset="-122"/>
              </a:rPr>
              <a:t>等软件</a:t>
            </a:r>
            <a:endParaRPr lang="en-US" altLang="zh-CN" sz="2000" dirty="0" smtClean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18619434"/>
      </p:ext>
    </p:extLst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标题 1"/>
          <p:cNvSpPr txBox="1">
            <a:spLocks/>
          </p:cNvSpPr>
          <p:nvPr/>
        </p:nvSpPr>
        <p:spPr>
          <a:xfrm>
            <a:off x="12668" y="125760"/>
            <a:ext cx="8229600" cy="1143000"/>
          </a:xfrm>
          <a:prstGeom prst="rect">
            <a:avLst/>
          </a:prstGeom>
        </p:spPr>
        <p:txBody>
          <a:bodyPr/>
          <a:lstStyle/>
          <a:p>
            <a:pPr marL="914400" lvl="0" indent="-914400">
              <a:defRPr/>
            </a:pP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j-cs"/>
                <a:sym typeface="Calibri" pitchFamily="34" charset="0"/>
              </a:rPr>
              <a:t>虚拟化集成项目的投资</a:t>
            </a:r>
            <a:r>
              <a:rPr lang="zh-CN" altLang="en-US" sz="3600" kern="0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Calibri" pitchFamily="34" charset="0"/>
              </a:rPr>
              <a:t>决策方案</a:t>
            </a:r>
            <a:endParaRPr kumimoji="0" lang="zh-CN" altLang="en-US" sz="3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j-cs"/>
              <a:sym typeface="Calibri" pitchFamily="34" charset="0"/>
            </a:endParaRPr>
          </a:p>
        </p:txBody>
      </p:sp>
      <p:graphicFrame>
        <p:nvGraphicFramePr>
          <p:cNvPr id="22" name="表格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550827"/>
              </p:ext>
            </p:extLst>
          </p:nvPr>
        </p:nvGraphicFramePr>
        <p:xfrm>
          <a:off x="118618" y="836712"/>
          <a:ext cx="8917878" cy="5823419"/>
        </p:xfrm>
        <a:graphic>
          <a:graphicData uri="http://schemas.openxmlformats.org/drawingml/2006/table">
            <a:tbl>
              <a:tblPr/>
              <a:tblGrid>
                <a:gridCol w="8844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06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60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05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66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1446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649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504056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以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台服务器的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IDC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机房为例，项目投入为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7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，以下是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年的</a:t>
                      </a:r>
                      <a:r>
                        <a:rPr lang="en-US" altLang="zh-CN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ROI</a:t>
                      </a:r>
                      <a:r>
                        <a:rPr lang="zh-CN" altLang="en-US" sz="1400" b="1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计算</a:t>
                      </a:r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endParaRPr lang="zh-CN" altLang="en-US" sz="1400" b="1" i="0" u="none" strike="noStrike" dirty="0">
                        <a:solidFill>
                          <a:srgbClr val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按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：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～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整合比例作为参照标准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节省成本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 rowSpan="2" gridSpan="2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成本科目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00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（人民币计算）</a:t>
                      </a: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传统数据机房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虚拟化云计算数据中心（青云）</a:t>
                      </a:r>
                      <a:endParaRPr lang="en-US" altLang="zh-CN" sz="1400" b="0" i="0" u="none" strike="noStrike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9281">
                <a:tc gridSpan="2" v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数量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单价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总价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数量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单价（每月）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总价（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年）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可节约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4157">
                <a:tc rowSpan="5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硬件成本</a:t>
                      </a: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服务器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(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虚拟机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核、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8G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内存）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605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36300</a:t>
                      </a:r>
                      <a:endParaRPr lang="en-US" altLang="zh-CN" sz="1400" b="0" i="0" u="none" strike="noStrike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6.37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HBA</a:t>
                      </a:r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卡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20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2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4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存储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TB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2304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38240</a:t>
                      </a:r>
                      <a:endParaRPr lang="en-US" altLang="zh-CN" sz="1400" b="0" i="0" u="none" strike="noStrike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6.18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光纤交换设备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ISDN/DDN</a:t>
                      </a:r>
                      <a:r>
                        <a:rPr lang="zh-CN" altLang="en-US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专线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4M/s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dirty="0" smtClean="0">
                          <a:latin typeface="微软雅黑" pitchFamily="34" charset="-122"/>
                          <a:ea typeface="微软雅黑" pitchFamily="34" charset="-122"/>
                        </a:rPr>
                        <a:t>4M/s</a:t>
                      </a:r>
                      <a:endParaRPr lang="zh-CN" altLang="en-US" sz="1400" dirty="0"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.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1189">
                <a:tc rowSpan="4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软件成本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高可用软件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2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6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OS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软件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5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零售软件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algn="l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系统管理软件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1189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电力成本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.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5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41189">
                <a:tc rowSpan="2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人力成本</a:t>
                      </a: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以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个人支持</a:t>
                      </a:r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台服务器及门店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6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30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0.5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5000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5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41189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400" b="0" i="0" u="none" strike="noStrike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虚拟化集成项目实施人力成本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1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-10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 smtClean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1189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TCO</a:t>
                      </a:r>
                      <a:r>
                        <a:rPr lang="zh-CN" altLang="en-US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节省</a:t>
                      </a:r>
                      <a:r>
                        <a:rPr lang="en-US" altLang="zh-CN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%</a:t>
                      </a:r>
                      <a:endParaRPr lang="en-US" altLang="zh-CN" sz="1400" b="0" i="0" u="none" strike="noStrike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rgbClr val="FF0000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41.6%</a:t>
                      </a:r>
                      <a:endParaRPr lang="en-US" altLang="zh-CN" sz="1400" b="0" i="0" u="none" strike="noStrike" dirty="0">
                        <a:solidFill>
                          <a:srgbClr val="FF0000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五年总成本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162.5</a:t>
                      </a:r>
                      <a:r>
                        <a:rPr lang="zh-CN" altLang="en-US" sz="1400" b="0" i="0" u="none" strike="noStrike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</a:rPr>
                        <a:t>万</a:t>
                      </a:r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US" altLang="zh-CN" sz="1400" b="0" i="0" u="none" strike="noStrike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95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67.55</a:t>
                      </a:r>
                      <a:r>
                        <a:rPr lang="zh-CN" altLang="en-US" sz="1400" b="0" i="0" u="none" strike="noStrike" kern="1200" dirty="0" smtClean="0">
                          <a:solidFill>
                            <a:schemeClr val="tx1"/>
                          </a:solidFill>
                          <a:latin typeface="微软雅黑" pitchFamily="34" charset="-122"/>
                          <a:ea typeface="微软雅黑" pitchFamily="34" charset="-122"/>
                          <a:cs typeface="+mn-cs"/>
                        </a:rPr>
                        <a:t>万</a:t>
                      </a:r>
                      <a:endParaRPr lang="en-US" altLang="zh-CN" sz="1400" b="0" i="0" u="none" strike="noStrike" kern="1200" dirty="0">
                        <a:solidFill>
                          <a:schemeClr val="tx1"/>
                        </a:solidFill>
                        <a:latin typeface="微软雅黑" pitchFamily="34" charset="-122"/>
                        <a:ea typeface="微软雅黑" pitchFamily="34" charset="-122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9900"/>
        </a:solidFill>
        <a:ln w="9525" algn="ctr">
          <a:noFill/>
          <a:miter lim="800000"/>
          <a:headEnd/>
          <a:tailEnd/>
        </a:ln>
        <a:effectLst/>
      </a:spPr>
      <a:bodyPr wrap="none" anchor="ctr"/>
      <a:lstStyle>
        <a:defPPr>
          <a:defRPr/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46</TotalTime>
  <Pages>0</Pages>
  <Words>1545</Words>
  <Characters>0</Characters>
  <Application>Microsoft Office PowerPoint</Application>
  <DocSecurity>0</DocSecurity>
  <PresentationFormat>全屏显示(4:3)</PresentationFormat>
  <Lines>0</Lines>
  <Paragraphs>382</Paragraphs>
  <Slides>13</Slides>
  <Notes>1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29" baseType="lpstr">
      <vt:lpstr>MS Gothic</vt:lpstr>
      <vt:lpstr>MS PGothic</vt:lpstr>
      <vt:lpstr>Tele-GroteskNor</vt:lpstr>
      <vt:lpstr>仿宋_GB2312</vt:lpstr>
      <vt:lpstr>华文中宋</vt:lpstr>
      <vt:lpstr>宋体</vt:lpstr>
      <vt:lpstr>微软雅黑</vt:lpstr>
      <vt:lpstr>Arial</vt:lpstr>
      <vt:lpstr>Arial Narrow</vt:lpstr>
      <vt:lpstr>Calibri</vt:lpstr>
      <vt:lpstr>Tahoma</vt:lpstr>
      <vt:lpstr>Times</vt:lpstr>
      <vt:lpstr>Times New Roman</vt:lpstr>
      <vt:lpstr>Wingdings</vt:lpstr>
      <vt:lpstr>Office 主题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虚拟化平台的优良特性 </vt:lpstr>
      <vt:lpstr>虚拟化平台的优良特性 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john</dc:creator>
  <cp:lastModifiedBy>Tong Liu</cp:lastModifiedBy>
  <cp:revision>1491</cp:revision>
  <dcterms:created xsi:type="dcterms:W3CDTF">2012-10-10T05:55:38Z</dcterms:created>
  <dcterms:modified xsi:type="dcterms:W3CDTF">2017-10-26T05:0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8.1.0.3260</vt:lpwstr>
  </property>
</Properties>
</file>